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5" r:id="rId5"/>
    <p:sldMasterId id="2147483706" r:id="rId6"/>
  </p:sldMasterIdLst>
  <p:notesMasterIdLst>
    <p:notesMasterId r:id="rId15"/>
  </p:notesMasterIdLst>
  <p:sldIdLst>
    <p:sldId id="5265" r:id="rId7"/>
    <p:sldId id="5267" r:id="rId8"/>
    <p:sldId id="5268" r:id="rId9"/>
    <p:sldId id="3130" r:id="rId10"/>
    <p:sldId id="5269" r:id="rId11"/>
    <p:sldId id="5270" r:id="rId12"/>
    <p:sldId id="5271" r:id="rId13"/>
    <p:sldId id="5272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aura Iles" initials="LI" lastIdx="1" clrIdx="0">
    <p:extLst>
      <p:ext uri="{19B8F6BF-5375-455C-9EA6-DF929625EA0E}">
        <p15:presenceInfo xmlns:p15="http://schemas.microsoft.com/office/powerpoint/2012/main" userId="S::liles@planview.com::b42ff3e7-b0d1-45a6-9dd4-8365faea2bc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D6E0"/>
    <a:srgbClr val="21213D"/>
    <a:srgbClr val="09AA61"/>
    <a:srgbClr val="FFA943"/>
    <a:srgbClr val="4297FC"/>
    <a:srgbClr val="680B18"/>
    <a:srgbClr val="EDE5E2"/>
    <a:srgbClr val="E2D8D5"/>
    <a:srgbClr val="AA182C"/>
    <a:srgbClr val="FF3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1DFB69F-F00C-0000-A914-107455E6C9D3}" v="2" dt="2021-03-22T21:14:02.122"/>
    <p1510:client id="{CD050633-8D41-44A8-95E6-B3112E707A4C}" v="94" dt="2021-03-22T21:40:18.20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9" d="100"/>
          <a:sy n="109" d="100"/>
        </p:scale>
        <p:origin x="132" y="1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4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1734A3-B5D2-44D6-A9D4-421D8D20679D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E3937C-E5EA-4078-AA2A-6A718E2751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15017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8F64DC-CE81-4E98-B536-C4AA163BB17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1106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8F64DC-CE81-4E98-B536-C4AA163BB175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9157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8F64DC-CE81-4E98-B536-C4AA163BB175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78358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8F64DC-CE81-4E98-B536-C4AA163BB17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7476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8F64DC-CE81-4E98-B536-C4AA163BB17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61245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8F64DC-CE81-4E98-B536-C4AA163BB17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954093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8F64DC-CE81-4E98-B536-C4AA163BB17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649106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8F64DC-CE81-4E98-B536-C4AA163BB175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3912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CB0D768-D9BF-4555-B246-BB0DE7ED4C7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59391" y="2137814"/>
            <a:ext cx="9883896" cy="780598"/>
          </a:xfrm>
        </p:spPr>
        <p:txBody>
          <a:bodyPr wrap="square" anchor="b">
            <a:spAutoFit/>
          </a:bodyPr>
          <a:lstStyle>
            <a:lvl1pPr algn="l">
              <a:lnSpc>
                <a:spcPts val="4800"/>
              </a:lnSpc>
              <a:defRPr sz="3733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59391" y="3012258"/>
            <a:ext cx="9883895" cy="595099"/>
          </a:xfrm>
        </p:spPr>
        <p:txBody>
          <a:bodyPr anchor="b" anchorCtr="0">
            <a:spAutoFit/>
          </a:bodyPr>
          <a:lstStyle>
            <a:lvl1pPr marL="0" indent="0" algn="l">
              <a:buNone/>
              <a:defRPr sz="2667" spc="-67" baseline="0">
                <a:solidFill>
                  <a:schemeClr val="accent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9395" y="3770903"/>
            <a:ext cx="5767916" cy="471989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's Nam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55F68B-B7A1-433D-98C7-51101DFE68D8}"/>
              </a:ext>
            </a:extLst>
          </p:cNvPr>
          <p:cNvSpPr txBox="1"/>
          <p:nvPr/>
        </p:nvSpPr>
        <p:spPr>
          <a:xfrm>
            <a:off x="125793" y="6492909"/>
            <a:ext cx="289848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19 PLANVIEW, INC.  // 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6520D1-A9C3-442A-9E33-8C6B162F65A6}"/>
              </a:ext>
            </a:extLst>
          </p:cNvPr>
          <p:cNvSpPr txBox="1"/>
          <p:nvPr/>
        </p:nvSpPr>
        <p:spPr>
          <a:xfrm>
            <a:off x="125793" y="6492909"/>
            <a:ext cx="289848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bg1"/>
                </a:solidFill>
              </a:rPr>
              <a:t>© 2020 PLANVIEW, INC.  //  CONFIDENTIA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AF14843-F73A-4540-BC67-FAA99224FB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82504" y="621237"/>
            <a:ext cx="2389109" cy="65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1023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sz="quarter" idx="10"/>
          </p:nvPr>
        </p:nvSpPr>
        <p:spPr>
          <a:xfrm>
            <a:off x="10287000" y="1108252"/>
            <a:ext cx="1899522" cy="5172821"/>
          </a:xfrm>
          <a:noFill/>
          <a:ln>
            <a:noFill/>
          </a:ln>
          <a:effectLst/>
        </p:spPr>
        <p:txBody>
          <a:bodyPr anchor="ctr">
            <a:norm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110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105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100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9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2480" y="152400"/>
            <a:ext cx="10594848" cy="724205"/>
          </a:xfrm>
        </p:spPr>
        <p:txBody>
          <a:bodyPr/>
          <a:lstStyle>
            <a:lvl1pPr>
              <a:defRPr sz="4267">
                <a:solidFill>
                  <a:srgbClr val="51515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CD54160-F5D2-4F21-8F58-525A151FFAB8}"/>
              </a:ext>
            </a:extLst>
          </p:cNvPr>
          <p:cNvSpPr txBox="1"/>
          <p:nvPr userDrawn="1"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0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925887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6585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92481" y="1066800"/>
            <a:ext cx="9342120" cy="5358336"/>
          </a:xfrm>
        </p:spPr>
        <p:txBody>
          <a:bodyPr lIns="91440" tIns="91440" rIns="91440" bIns="91440"/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pc="-40">
                <a:solidFill>
                  <a:srgbClr val="515151"/>
                </a:solidFill>
              </a:defRPr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pc="-40">
                <a:solidFill>
                  <a:srgbClr val="515151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2400" spc="-40">
                <a:solidFill>
                  <a:srgbClr val="51515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2133" spc="-40">
                <a:solidFill>
                  <a:srgbClr val="515151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1867" spc="-40">
                <a:solidFill>
                  <a:srgbClr val="51515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792480" y="152400"/>
            <a:ext cx="10594848" cy="699516"/>
          </a:xfrm>
          <a:prstGeom prst="rect">
            <a:avLst/>
          </a:prstGeom>
        </p:spPr>
        <p:txBody>
          <a:bodyPr vert="horz" lIns="91440" tIns="91440" rIns="91440" bIns="91440" rtlCol="0" anchor="t" anchorCtr="0">
            <a:noAutofit/>
          </a:bodyPr>
          <a:lstStyle>
            <a:lvl1pPr>
              <a:defRPr sz="4267">
                <a:solidFill>
                  <a:srgbClr val="51515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quarter" idx="10"/>
          </p:nvPr>
        </p:nvSpPr>
        <p:spPr>
          <a:xfrm>
            <a:off x="10287000" y="1108252"/>
            <a:ext cx="1899522" cy="5172821"/>
          </a:xfrm>
          <a:noFill/>
          <a:ln>
            <a:noFill/>
          </a:ln>
          <a:effectLst/>
        </p:spPr>
        <p:txBody>
          <a:bodyPr anchor="ctr">
            <a:norm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110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105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100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9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6EA8904-8CF0-466D-B6EE-77353FED6F62}"/>
              </a:ext>
            </a:extLst>
          </p:cNvPr>
          <p:cNvSpPr txBox="1"/>
          <p:nvPr userDrawn="1"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0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007056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0" y="152400"/>
            <a:ext cx="10007601" cy="724205"/>
          </a:xfrm>
        </p:spPr>
        <p:txBody>
          <a:bodyPr/>
          <a:lstStyle>
            <a:lvl1pPr>
              <a:defRPr sz="3840">
                <a:solidFill>
                  <a:srgbClr val="51515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hlinkClick r:id="" action="ppaction://noaction"/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4872" y="6379765"/>
            <a:ext cx="1371971" cy="31964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1C833D2-31BF-4817-8660-49DB347414ED}"/>
              </a:ext>
            </a:extLst>
          </p:cNvPr>
          <p:cNvSpPr txBox="1"/>
          <p:nvPr userDrawn="1"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0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529724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PM Toolkit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681" y="692696"/>
            <a:ext cx="11283460" cy="512475"/>
          </a:xfrm>
        </p:spPr>
        <p:txBody>
          <a:bodyPr lIns="91440" rIns="91440">
            <a:noAutofit/>
          </a:bodyPr>
          <a:lstStyle>
            <a:lvl1pPr algn="l">
              <a:defRPr sz="2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7680" y="1268760"/>
            <a:ext cx="11224320" cy="5112568"/>
          </a:xfrm>
        </p:spPr>
        <p:txBody>
          <a:bodyPr lIns="91440" tIns="91440" rIns="91440" bIns="9144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75000"/>
                </a:schemeClr>
              </a:buClr>
              <a:defRPr sz="2000" spc="-31">
                <a:solidFill>
                  <a:schemeClr val="tx2">
                    <a:lumMod val="75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75000"/>
                </a:schemeClr>
              </a:buClr>
              <a:defRPr sz="1800" spc="-31">
                <a:solidFill>
                  <a:schemeClr val="tx2">
                    <a:lumMod val="7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75000"/>
                </a:schemeClr>
              </a:buClr>
              <a:defRPr sz="1600" spc="-31">
                <a:solidFill>
                  <a:schemeClr val="tx2">
                    <a:lumMod val="7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75000"/>
                </a:schemeClr>
              </a:buClr>
              <a:defRPr sz="1600" spc="-31">
                <a:solidFill>
                  <a:schemeClr val="tx2">
                    <a:lumMod val="7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75000"/>
                </a:schemeClr>
              </a:buClr>
              <a:defRPr sz="1600" spc="-31">
                <a:solidFill>
                  <a:schemeClr val="tx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3D7009B-E1DA-412F-B2F5-08F8AA85CDC4}"/>
              </a:ext>
            </a:extLst>
          </p:cNvPr>
          <p:cNvSpPr txBox="1"/>
          <p:nvPr userDrawn="1"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0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672703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51104" y="384049"/>
            <a:ext cx="11253216" cy="699516"/>
          </a:xfrm>
          <a:prstGeom prst="rect">
            <a:avLst/>
          </a:prstGeom>
        </p:spPr>
        <p:txBody>
          <a:bodyPr vert="horz" lIns="91440" tIns="91440" rIns="91440" bIns="91440" rtlCol="0" anchor="t" anchorCtr="0">
            <a:noAutofit/>
          </a:bodyPr>
          <a:lstStyle>
            <a:lvl1pPr>
              <a:defRPr sz="3733">
                <a:solidFill>
                  <a:srgbClr val="51515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D35598B-901B-4FF5-84A4-B01A286A22F8}"/>
              </a:ext>
            </a:extLst>
          </p:cNvPr>
          <p:cNvSpPr txBox="1"/>
          <p:nvPr userDrawn="1"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0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252745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28F8AC-8F13-5949-AA62-7265DF5872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11B1F4F-4DF6-D842-9B58-3F782D3EAD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D1509B-C865-F546-BB66-3D16CB9BF5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2D9E91-F622-6243-B5EC-D98B58100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9A9B99-16B2-2541-95C3-ABEC3B110C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D7E44F-55F9-3941-8260-F03068AFDA82}"/>
              </a:ext>
            </a:extLst>
          </p:cNvPr>
          <p:cNvSpPr/>
          <p:nvPr userDrawn="1"/>
        </p:nvSpPr>
        <p:spPr>
          <a:xfrm>
            <a:off x="9656956" y="6021658"/>
            <a:ext cx="2535043" cy="8363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0F6FDE2-F4C3-0049-9FC3-602C225E1DA8}"/>
              </a:ext>
            </a:extLst>
          </p:cNvPr>
          <p:cNvSpPr txBox="1"/>
          <p:nvPr userDrawn="1"/>
        </p:nvSpPr>
        <p:spPr>
          <a:xfrm>
            <a:off x="8962626" y="6415801"/>
            <a:ext cx="2878974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US" sz="800" b="0" i="0">
                <a:solidFill>
                  <a:schemeClr val="accent6">
                    <a:lumMod val="40000"/>
                    <a:lumOff val="60000"/>
                  </a:schemeClr>
                </a:solidFill>
                <a:latin typeface="+mn-lt"/>
                <a:ea typeface="Calibri Light" charset="0"/>
                <a:cs typeface="Calibri Light" charset="0"/>
              </a:rPr>
              <a:t>© 2019 </a:t>
            </a:r>
            <a:r>
              <a:rPr lang="en-CA" sz="800" b="0" i="0" kern="1200" err="1">
                <a:solidFill>
                  <a:schemeClr val="accent6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Tasktop</a:t>
            </a:r>
            <a:r>
              <a:rPr lang="en-CA" sz="800" b="0" i="0" kern="1200">
                <a:solidFill>
                  <a:schemeClr val="accent6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 Technologies Incorporated.</a:t>
            </a:r>
            <a:endParaRPr lang="en-US" sz="800" b="0" i="0">
              <a:solidFill>
                <a:schemeClr val="accent6">
                  <a:lumMod val="40000"/>
                  <a:lumOff val="60000"/>
                </a:schemeClr>
              </a:solidFill>
              <a:latin typeface="+mn-lt"/>
              <a:ea typeface="Calibri Light" charset="0"/>
              <a:cs typeface="Calibri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09830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28F8AC-8F13-5949-AA62-7265DF5872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301086"/>
            <a:ext cx="9144000" cy="2387600"/>
          </a:xfrm>
        </p:spPr>
        <p:txBody>
          <a:bodyPr anchor="b">
            <a:normAutofit/>
          </a:bodyPr>
          <a:lstStyle>
            <a:lvl1pPr algn="ctr"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11B1F4F-4DF6-D842-9B58-3F782D3EAD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780761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D1509B-C865-F546-BB66-3D16CB9BF5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2D9E91-F622-6243-B5EC-D98B58100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9A9B99-16B2-2541-95C3-ABEC3B110C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F78A2F6-DAF5-E245-A2A6-E18020D255F9}"/>
              </a:ext>
            </a:extLst>
          </p:cNvPr>
          <p:cNvSpPr/>
          <p:nvPr userDrawn="1"/>
        </p:nvSpPr>
        <p:spPr>
          <a:xfrm>
            <a:off x="0" y="5482340"/>
            <a:ext cx="12192000" cy="13756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5057AE0-A0D7-1E43-AF55-579FC00FE9EC}"/>
              </a:ext>
            </a:extLst>
          </p:cNvPr>
          <p:cNvSpPr/>
          <p:nvPr userDrawn="1"/>
        </p:nvSpPr>
        <p:spPr>
          <a:xfrm>
            <a:off x="0" y="-18237"/>
            <a:ext cx="12192000" cy="13756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66FC86-5F16-C843-A60C-6A4F7CC77EF0}"/>
              </a:ext>
            </a:extLst>
          </p:cNvPr>
          <p:cNvSpPr txBox="1"/>
          <p:nvPr userDrawn="1"/>
        </p:nvSpPr>
        <p:spPr>
          <a:xfrm>
            <a:off x="8962626" y="6415801"/>
            <a:ext cx="2878974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US" sz="800" b="0" i="0">
                <a:solidFill>
                  <a:schemeClr val="accent6">
                    <a:lumMod val="40000"/>
                    <a:lumOff val="60000"/>
                  </a:schemeClr>
                </a:solidFill>
                <a:latin typeface="+mn-lt"/>
                <a:ea typeface="Calibri Light" charset="0"/>
                <a:cs typeface="Calibri Light" charset="0"/>
              </a:rPr>
              <a:t>© 2019 </a:t>
            </a:r>
            <a:r>
              <a:rPr lang="en-CA" sz="800" b="0" i="0" kern="1200" err="1">
                <a:solidFill>
                  <a:schemeClr val="accent6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Tasktop</a:t>
            </a:r>
            <a:r>
              <a:rPr lang="en-CA" sz="800" b="0" i="0" kern="1200">
                <a:solidFill>
                  <a:schemeClr val="accent6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 Technologies Incorporated.</a:t>
            </a:r>
            <a:endParaRPr lang="en-US" sz="800" b="0" i="0">
              <a:solidFill>
                <a:schemeClr val="accent6">
                  <a:lumMod val="40000"/>
                  <a:lumOff val="60000"/>
                </a:schemeClr>
              </a:solidFill>
              <a:latin typeface="+mn-lt"/>
              <a:ea typeface="Calibri Light" charset="0"/>
              <a:cs typeface="Calibri Light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3499788-1593-1C4F-BE78-EED4B39BFFC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400" y="5958682"/>
            <a:ext cx="1798634" cy="899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1073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D1509B-C865-F546-BB66-3D16CB9BF5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2D9E91-F622-6243-B5EC-D98B58100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9A9B99-16B2-2541-95C3-ABEC3B110C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E36FD87-3CAC-8749-876A-3964E2B814A0}"/>
              </a:ext>
            </a:extLst>
          </p:cNvPr>
          <p:cNvSpPr/>
          <p:nvPr userDrawn="1"/>
        </p:nvSpPr>
        <p:spPr>
          <a:xfrm>
            <a:off x="0" y="5472289"/>
            <a:ext cx="12192000" cy="13756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28F8AC-8F13-5949-AA62-7265DF5872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950968"/>
            <a:ext cx="9144000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11B1F4F-4DF6-D842-9B58-3F782D3EAD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519433"/>
            <a:ext cx="9144000" cy="1277655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0C98A40-5227-E947-AE2F-A9E3771BADCA}"/>
              </a:ext>
            </a:extLst>
          </p:cNvPr>
          <p:cNvSpPr txBox="1"/>
          <p:nvPr userDrawn="1"/>
        </p:nvSpPr>
        <p:spPr>
          <a:xfrm>
            <a:off x="8962626" y="6415801"/>
            <a:ext cx="2878974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US" sz="800" b="0" i="0">
                <a:solidFill>
                  <a:schemeClr val="accent6">
                    <a:lumMod val="40000"/>
                    <a:lumOff val="60000"/>
                  </a:schemeClr>
                </a:solidFill>
                <a:latin typeface="+mn-lt"/>
                <a:ea typeface="Calibri Light" charset="0"/>
                <a:cs typeface="Calibri Light" charset="0"/>
              </a:rPr>
              <a:t>© 2019 </a:t>
            </a:r>
            <a:r>
              <a:rPr lang="en-CA" sz="800" b="0" i="0" kern="1200" err="1">
                <a:solidFill>
                  <a:schemeClr val="accent6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Tasktop</a:t>
            </a:r>
            <a:r>
              <a:rPr lang="en-CA" sz="800" b="0" i="0" kern="1200">
                <a:solidFill>
                  <a:schemeClr val="accent6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 Technologies Incorporated.</a:t>
            </a:r>
            <a:endParaRPr lang="en-US" sz="800" b="0" i="0">
              <a:solidFill>
                <a:schemeClr val="accent6">
                  <a:lumMod val="40000"/>
                  <a:lumOff val="60000"/>
                </a:schemeClr>
              </a:solidFill>
              <a:latin typeface="+mn-lt"/>
              <a:ea typeface="Calibri Light" charset="0"/>
              <a:cs typeface="Calibri Light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8835918-3AB0-2D45-AD13-47CE214009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400" y="5958682"/>
            <a:ext cx="1798634" cy="899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91218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D1509B-C865-F546-BB66-3D16CB9BF5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2D9E91-F622-6243-B5EC-D98B58100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9A9B99-16B2-2541-95C3-ABEC3B110C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E36FD87-3CAC-8749-876A-3964E2B814A0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28F8AC-8F13-5949-AA62-7265DF5872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640815"/>
            <a:ext cx="9144000" cy="1150258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11B1F4F-4DF6-D842-9B58-3F782D3EAD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883149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accent6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A91B215-BDF8-2C44-82B7-527951ACEE57}"/>
              </a:ext>
            </a:extLst>
          </p:cNvPr>
          <p:cNvSpPr txBox="1"/>
          <p:nvPr userDrawn="1"/>
        </p:nvSpPr>
        <p:spPr>
          <a:xfrm>
            <a:off x="8962626" y="6415801"/>
            <a:ext cx="2878974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US" sz="800" b="0" i="0">
                <a:solidFill>
                  <a:schemeClr val="accent6">
                    <a:lumMod val="40000"/>
                    <a:lumOff val="60000"/>
                  </a:schemeClr>
                </a:solidFill>
                <a:latin typeface="+mn-lt"/>
                <a:ea typeface="Calibri Light" charset="0"/>
                <a:cs typeface="Calibri Light" charset="0"/>
              </a:rPr>
              <a:t>© 2019 </a:t>
            </a:r>
            <a:r>
              <a:rPr lang="en-CA" sz="800" b="0" i="0" kern="1200" err="1">
                <a:solidFill>
                  <a:schemeClr val="accent6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Tasktop</a:t>
            </a:r>
            <a:r>
              <a:rPr lang="en-CA" sz="800" b="0" i="0" kern="1200">
                <a:solidFill>
                  <a:schemeClr val="accent6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 Technologies Incorporated.</a:t>
            </a:r>
            <a:endParaRPr lang="en-US" sz="800" b="0" i="0">
              <a:solidFill>
                <a:schemeClr val="accent6">
                  <a:lumMod val="40000"/>
                  <a:lumOff val="60000"/>
                </a:schemeClr>
              </a:solidFill>
              <a:latin typeface="+mn-lt"/>
              <a:ea typeface="Calibri Light" charset="0"/>
              <a:cs typeface="Calibri Light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34B7D7E-8B9C-8843-A045-0AF0112ADA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400" y="5958682"/>
            <a:ext cx="1798634" cy="899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9787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8A978C-11B5-654B-BF44-ABA2B24CF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373C0A-9B42-E046-9ED6-AD18BE932D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>
                    <a:lumMod val="9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F52196-3088-B749-AC00-366713B53F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D03883-4E25-0A43-A42B-D1DBD17F4E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AD2E8B-4EB7-3142-B905-A31EB4D32B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954AD86-E519-2C41-BFFC-D67ACA5AAAA2}"/>
              </a:ext>
            </a:extLst>
          </p:cNvPr>
          <p:cNvSpPr/>
          <p:nvPr userDrawn="1"/>
        </p:nvSpPr>
        <p:spPr>
          <a:xfrm>
            <a:off x="9656956" y="6021658"/>
            <a:ext cx="2535043" cy="8363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9BFF75-4FA3-104B-B3EB-96194C949FAD}"/>
              </a:ext>
            </a:extLst>
          </p:cNvPr>
          <p:cNvSpPr txBox="1"/>
          <p:nvPr userDrawn="1"/>
        </p:nvSpPr>
        <p:spPr>
          <a:xfrm>
            <a:off x="8962626" y="6415801"/>
            <a:ext cx="2878974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US" sz="800" b="0" i="0">
                <a:solidFill>
                  <a:schemeClr val="accent6">
                    <a:lumMod val="40000"/>
                    <a:lumOff val="60000"/>
                  </a:schemeClr>
                </a:solidFill>
                <a:latin typeface="+mn-lt"/>
                <a:ea typeface="Calibri Light" charset="0"/>
                <a:cs typeface="Calibri Light" charset="0"/>
              </a:rPr>
              <a:t>© 2019 </a:t>
            </a:r>
            <a:r>
              <a:rPr lang="en-CA" sz="800" b="0" i="0" kern="1200" err="1">
                <a:solidFill>
                  <a:schemeClr val="accent6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Tasktop</a:t>
            </a:r>
            <a:r>
              <a:rPr lang="en-CA" sz="800" b="0" i="0" kern="1200">
                <a:solidFill>
                  <a:schemeClr val="accent6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 Technologies Incorporated.</a:t>
            </a:r>
            <a:endParaRPr lang="en-US" sz="800" b="0" i="0">
              <a:solidFill>
                <a:schemeClr val="accent6">
                  <a:lumMod val="40000"/>
                  <a:lumOff val="60000"/>
                </a:schemeClr>
              </a:solidFill>
              <a:latin typeface="+mn-lt"/>
              <a:ea typeface="Calibri Light" charset="0"/>
              <a:cs typeface="Calibri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76175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B87D5BD-CD2D-4609-B803-1B176ADE034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7839" y="6302125"/>
            <a:ext cx="1512612" cy="416640"/>
          </a:xfrm>
          <a:prstGeom prst="rect">
            <a:avLst/>
          </a:prstGeom>
        </p:spPr>
      </p:pic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51104" y="1341120"/>
            <a:ext cx="11253216" cy="5084016"/>
          </a:xfrm>
        </p:spPr>
        <p:txBody>
          <a:bodyPr lIns="91440" tIns="91440" rIns="91440" bIns="91440"/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>
                  <a:lumMod val="75000"/>
                </a:schemeClr>
              </a:buClr>
              <a:defRPr spc="-4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>
                  <a:lumMod val="75000"/>
                </a:schemeClr>
              </a:buClr>
              <a:defRPr spc="-4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>
                  <a:lumMod val="75000"/>
                </a:schemeClr>
              </a:buClr>
              <a:defRPr sz="2400" spc="-4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>
                  <a:lumMod val="75000"/>
                </a:schemeClr>
              </a:buClr>
              <a:defRPr sz="2133" spc="-4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1867" spc="-4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51104" y="384049"/>
            <a:ext cx="11253216" cy="699516"/>
          </a:xfrm>
          <a:prstGeom prst="rect">
            <a:avLst/>
          </a:prstGeom>
        </p:spPr>
        <p:txBody>
          <a:bodyPr vert="horz" lIns="91440" tIns="91440" rIns="91440" bIns="91440" rtlCol="0" anchor="t" anchorCtr="0">
            <a:noAutofit/>
          </a:bodyPr>
          <a:lstStyle>
            <a:lvl1pPr>
              <a:defRPr sz="3733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31ECB86-1682-413A-A21F-0ECE2BC5A85B}"/>
              </a:ext>
            </a:extLst>
          </p:cNvPr>
          <p:cNvSpPr txBox="1"/>
          <p:nvPr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0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678156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343A6A-67E0-A848-8458-3809E66304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2F7D0F-7AAB-B640-8867-3AC44971CC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F07B4A-68A8-B64D-86A0-FA89061B7D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92439C-F15F-EB42-AE17-A6115260E1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1184125-C7CE-294F-AB3B-49E3F03A85CE}"/>
              </a:ext>
            </a:extLst>
          </p:cNvPr>
          <p:cNvSpPr/>
          <p:nvPr userDrawn="1"/>
        </p:nvSpPr>
        <p:spPr>
          <a:xfrm>
            <a:off x="0" y="1241778"/>
            <a:ext cx="12192000" cy="49351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6C665B-22D7-F34C-9B98-33CB0D5F49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05B8C4-195F-DF41-8CFA-D634879845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87975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79EF9C-E3D7-0247-ADE5-32E9E1E0F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87665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EC98D36-FE85-DF40-977F-9065714883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737F600-EAA1-8A40-9E9E-DBBDBE01C4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F2CBC10-D931-9348-A745-5081BD6BD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B17C284-5D33-0942-8906-175C7CEDD9C2}"/>
              </a:ext>
            </a:extLst>
          </p:cNvPr>
          <p:cNvSpPr/>
          <p:nvPr userDrawn="1"/>
        </p:nvSpPr>
        <p:spPr>
          <a:xfrm>
            <a:off x="0" y="1241778"/>
            <a:ext cx="12191999" cy="49351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BFF3A8D-55B9-DD4D-9D63-F9618284097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D7F04C6-2ED5-EE4C-954E-398950467F0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52389C-E499-C040-AB49-7441B5DB2B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2674FCD-6816-E248-8C18-66A3AB59B5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639877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B2BBE1F-32F8-D145-AF8F-5620DD113E34}"/>
              </a:ext>
            </a:extLst>
          </p:cNvPr>
          <p:cNvSpPr/>
          <p:nvPr userDrawn="1"/>
        </p:nvSpPr>
        <p:spPr>
          <a:xfrm>
            <a:off x="0" y="365126"/>
            <a:ext cx="12192000" cy="58118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AF3498-E93B-F940-914C-014AB1747C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331FC4-10A0-A649-9BAD-288C8A16B2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45F04B-0D4A-5B46-A274-E94D6CE667D3}"/>
              </a:ext>
            </a:extLst>
          </p:cNvPr>
          <p:cNvSpPr>
            <a:spLocks noGrp="1"/>
          </p:cNvSpPr>
          <p:nvPr>
            <p:ph idx="1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8FA085-7EB8-E44F-8478-4E388B5BC3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D6B63B-762A-7D48-80A0-55E9E189D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67129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B2BBE1F-32F8-D145-AF8F-5620DD113E34}"/>
              </a:ext>
            </a:extLst>
          </p:cNvPr>
          <p:cNvSpPr/>
          <p:nvPr userDrawn="1"/>
        </p:nvSpPr>
        <p:spPr>
          <a:xfrm>
            <a:off x="360608" y="0"/>
            <a:ext cx="11831392" cy="61769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AF3498-E93B-F940-914C-014AB1747C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76653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331FC4-10A0-A649-9BAD-288C8A16B2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45F04B-0D4A-5B46-A274-E94D6CE667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buClrTx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buClrTx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8FA085-7EB8-E44F-8478-4E388B5BC3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D6B63B-762A-7D48-80A0-55E9E189D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76069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C4518E2-6FF2-5348-989A-606F787C4C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B82246-3DB8-0547-9041-0A81539665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D6DF24-FCC3-CF41-B371-C652C778B1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65459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FE740F-ACFB-3843-977F-C4D3638653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BEC360C-873E-D442-A02C-B8AB0AB6CF9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643B63-3957-4449-A47D-7A69D93D19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1B394AB-FF1C-A445-BECD-08006FE5D0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B958DC2-A3B8-0342-9097-BD58B95F94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D51D17D-6E69-2C45-9E1E-5D7A5FEECB5A}"/>
              </a:ext>
            </a:extLst>
          </p:cNvPr>
          <p:cNvSpPr/>
          <p:nvPr userDrawn="1"/>
        </p:nvSpPr>
        <p:spPr>
          <a:xfrm>
            <a:off x="4772025" y="-7145"/>
            <a:ext cx="7500938" cy="61936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260B76-8859-8240-A9C3-E9EBE5FDF4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24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777023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82B9A16-C8DF-BD46-BB0E-0F6DC3C77375}"/>
              </a:ext>
            </a:extLst>
          </p:cNvPr>
          <p:cNvSpPr/>
          <p:nvPr userDrawn="1"/>
        </p:nvSpPr>
        <p:spPr>
          <a:xfrm>
            <a:off x="4772025" y="-7145"/>
            <a:ext cx="7500938" cy="56216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6D1DA9-7523-9844-B73D-0551DED67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2A7B3B-E970-A944-80FD-AA6CC85B5AF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241C8D-8F60-5B4B-B615-956F197730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325DA8-8ABC-934D-BF1C-C6EA3E1B97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72C171-5DE3-464E-9733-25B3C2B04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3310E2-9EA1-6A4C-8824-57E0A417C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 descr="A picture containing outdoor object, web&#10;&#10;Description automatically generated">
            <a:extLst>
              <a:ext uri="{FF2B5EF4-FFF2-40B4-BE49-F238E27FC236}">
                <a16:creationId xmlns:a16="http://schemas.microsoft.com/office/drawing/2014/main" id="{78F013C6-3B53-0D4A-86C1-64E0C9F147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72024" y="-8793"/>
            <a:ext cx="7420380" cy="56196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161D5FD-143F-854E-89B4-DA9C08AE9297}"/>
              </a:ext>
            </a:extLst>
          </p:cNvPr>
          <p:cNvSpPr/>
          <p:nvPr userDrawn="1"/>
        </p:nvSpPr>
        <p:spPr>
          <a:xfrm>
            <a:off x="-45076" y="5605200"/>
            <a:ext cx="12237076" cy="4414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26062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82B9A16-C8DF-BD46-BB0E-0F6DC3C77375}"/>
              </a:ext>
            </a:extLst>
          </p:cNvPr>
          <p:cNvSpPr/>
          <p:nvPr userDrawn="1"/>
        </p:nvSpPr>
        <p:spPr>
          <a:xfrm>
            <a:off x="4772025" y="-7145"/>
            <a:ext cx="7500938" cy="56216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6D1DA9-7523-9844-B73D-0551DED67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2A7B3B-E970-A944-80FD-AA6CC85B5AF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241C8D-8F60-5B4B-B615-956F197730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325DA8-8ABC-934D-BF1C-C6EA3E1B97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72C171-5DE3-464E-9733-25B3C2B04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3310E2-9EA1-6A4C-8824-57E0A417C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F013C6-3B53-0D4A-86C1-64E0C9F147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2024" y="-7146"/>
            <a:ext cx="7420380" cy="561234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161D5FD-143F-854E-89B4-DA9C08AE9297}"/>
              </a:ext>
            </a:extLst>
          </p:cNvPr>
          <p:cNvSpPr/>
          <p:nvPr userDrawn="1"/>
        </p:nvSpPr>
        <p:spPr>
          <a:xfrm>
            <a:off x="-45076" y="5605200"/>
            <a:ext cx="12237076" cy="4414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1056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4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82B9A16-C8DF-BD46-BB0E-0F6DC3C77375}"/>
              </a:ext>
            </a:extLst>
          </p:cNvPr>
          <p:cNvSpPr/>
          <p:nvPr userDrawn="1"/>
        </p:nvSpPr>
        <p:spPr>
          <a:xfrm>
            <a:off x="4772025" y="-7145"/>
            <a:ext cx="7500938" cy="56216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6D1DA9-7523-9844-B73D-0551DED67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2A7B3B-E970-A944-80FD-AA6CC85B5AF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241C8D-8F60-5B4B-B615-956F197730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325DA8-8ABC-934D-BF1C-C6EA3E1B97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72C171-5DE3-464E-9733-25B3C2B04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3310E2-9EA1-6A4C-8824-57E0A417C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F013C6-3B53-0D4A-86C1-64E0C9F147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72024" y="-7145"/>
            <a:ext cx="7420380" cy="561234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161D5FD-143F-854E-89B4-DA9C08AE9297}"/>
              </a:ext>
            </a:extLst>
          </p:cNvPr>
          <p:cNvSpPr/>
          <p:nvPr userDrawn="1"/>
        </p:nvSpPr>
        <p:spPr>
          <a:xfrm>
            <a:off x="-45076" y="5605200"/>
            <a:ext cx="12237076" cy="4414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22532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5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82B9A16-C8DF-BD46-BB0E-0F6DC3C77375}"/>
              </a:ext>
            </a:extLst>
          </p:cNvPr>
          <p:cNvSpPr/>
          <p:nvPr userDrawn="1"/>
        </p:nvSpPr>
        <p:spPr>
          <a:xfrm>
            <a:off x="4772025" y="-7145"/>
            <a:ext cx="7500938" cy="56216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6D1DA9-7523-9844-B73D-0551DED67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2A7B3B-E970-A944-80FD-AA6CC85B5AF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241C8D-8F60-5B4B-B615-956F197730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325DA8-8ABC-934D-BF1C-C6EA3E1B97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72C171-5DE3-464E-9733-25B3C2B04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3310E2-9EA1-6A4C-8824-57E0A417C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F013C6-3B53-0D4A-86C1-64E0C9F147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83"/>
          <a:stretch/>
        </p:blipFill>
        <p:spPr>
          <a:xfrm>
            <a:off x="4772024" y="-7146"/>
            <a:ext cx="7420380" cy="562167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161D5FD-143F-854E-89B4-DA9C08AE9297}"/>
              </a:ext>
            </a:extLst>
          </p:cNvPr>
          <p:cNvSpPr/>
          <p:nvPr userDrawn="1"/>
        </p:nvSpPr>
        <p:spPr>
          <a:xfrm>
            <a:off x="-4392" y="5608092"/>
            <a:ext cx="12237076" cy="4414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16203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C0CF717-0C85-45A7-8B1D-A66DF90C7B2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8487" y="6282773"/>
            <a:ext cx="1512612" cy="41664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1104" y="384049"/>
            <a:ext cx="11253216" cy="726948"/>
          </a:xfrm>
        </p:spPr>
        <p:txBody>
          <a:bodyPr/>
          <a:lstStyle>
            <a:lvl1pPr>
              <a:defRPr sz="3733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1104" y="1341121"/>
            <a:ext cx="5486400" cy="46584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3200" spc="-4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667" spc="-4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400" spc="-4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133" spc="-4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1867" spc="-4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53600" y="1341121"/>
            <a:ext cx="5486400" cy="46584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3200" spc="-4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667" spc="-4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400" spc="-4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133" spc="-4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1867" spc="-4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95036A1-77D1-47DA-BE24-1917EC313DA4}"/>
              </a:ext>
            </a:extLst>
          </p:cNvPr>
          <p:cNvSpPr txBox="1"/>
          <p:nvPr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0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CEDB77C-D07A-4E3C-979A-82EB0E8B401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8487" y="6282773"/>
            <a:ext cx="1512612" cy="416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7619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6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82B9A16-C8DF-BD46-BB0E-0F6DC3C77375}"/>
              </a:ext>
            </a:extLst>
          </p:cNvPr>
          <p:cNvSpPr/>
          <p:nvPr userDrawn="1"/>
        </p:nvSpPr>
        <p:spPr>
          <a:xfrm>
            <a:off x="4772025" y="-7145"/>
            <a:ext cx="7500938" cy="56216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6D1DA9-7523-9844-B73D-0551DED67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2A7B3B-E970-A944-80FD-AA6CC85B5AF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241C8D-8F60-5B4B-B615-956F197730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325DA8-8ABC-934D-BF1C-C6EA3E1B97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72C171-5DE3-464E-9733-25B3C2B04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3310E2-9EA1-6A4C-8824-57E0A417C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F013C6-3B53-0D4A-86C1-64E0C9F147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72024" y="-7146"/>
            <a:ext cx="7420380" cy="562167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161D5FD-143F-854E-89B4-DA9C08AE9297}"/>
              </a:ext>
            </a:extLst>
          </p:cNvPr>
          <p:cNvSpPr/>
          <p:nvPr userDrawn="1"/>
        </p:nvSpPr>
        <p:spPr>
          <a:xfrm>
            <a:off x="-4392" y="5608181"/>
            <a:ext cx="12237076" cy="4414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897807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7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82B9A16-C8DF-BD46-BB0E-0F6DC3C77375}"/>
              </a:ext>
            </a:extLst>
          </p:cNvPr>
          <p:cNvSpPr/>
          <p:nvPr userDrawn="1"/>
        </p:nvSpPr>
        <p:spPr>
          <a:xfrm>
            <a:off x="4772025" y="-7145"/>
            <a:ext cx="7500938" cy="56216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6D1DA9-7523-9844-B73D-0551DED67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2A7B3B-E970-A944-80FD-AA6CC85B5AF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241C8D-8F60-5B4B-B615-956F197730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325DA8-8ABC-934D-BF1C-C6EA3E1B97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72C171-5DE3-464E-9733-25B3C2B04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3310E2-9EA1-6A4C-8824-57E0A417C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F013C6-3B53-0D4A-86C1-64E0C9F147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72024" y="0"/>
            <a:ext cx="7420380" cy="562167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161D5FD-143F-854E-89B4-DA9C08AE9297}"/>
              </a:ext>
            </a:extLst>
          </p:cNvPr>
          <p:cNvSpPr/>
          <p:nvPr userDrawn="1"/>
        </p:nvSpPr>
        <p:spPr>
          <a:xfrm>
            <a:off x="-4392" y="5608181"/>
            <a:ext cx="12237076" cy="4414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1644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3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82B9A16-C8DF-BD46-BB0E-0F6DC3C77375}"/>
              </a:ext>
            </a:extLst>
          </p:cNvPr>
          <p:cNvSpPr/>
          <p:nvPr userDrawn="1"/>
        </p:nvSpPr>
        <p:spPr>
          <a:xfrm>
            <a:off x="4772025" y="-7145"/>
            <a:ext cx="7500938" cy="56216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6D1DA9-7523-9844-B73D-0551DED67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2A7B3B-E970-A944-80FD-AA6CC85B5AF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241C8D-8F60-5B4B-B615-956F197730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325DA8-8ABC-934D-BF1C-C6EA3E1B97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72C171-5DE3-464E-9733-25B3C2B04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3310E2-9EA1-6A4C-8824-57E0A417C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F013C6-3B53-0D4A-86C1-64E0C9F147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72024" y="-7145"/>
            <a:ext cx="7420380" cy="562167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161D5FD-143F-854E-89B4-DA9C08AE9297}"/>
              </a:ext>
            </a:extLst>
          </p:cNvPr>
          <p:cNvSpPr/>
          <p:nvPr userDrawn="1"/>
        </p:nvSpPr>
        <p:spPr>
          <a:xfrm>
            <a:off x="-45076" y="5605200"/>
            <a:ext cx="12237076" cy="4414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14277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2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82B9A16-C8DF-BD46-BB0E-0F6DC3C77375}"/>
              </a:ext>
            </a:extLst>
          </p:cNvPr>
          <p:cNvSpPr/>
          <p:nvPr userDrawn="1"/>
        </p:nvSpPr>
        <p:spPr>
          <a:xfrm>
            <a:off x="4772025" y="-7145"/>
            <a:ext cx="7500938" cy="56216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6D1DA9-7523-9844-B73D-0551DED67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2A7B3B-E970-A944-80FD-AA6CC85B5AF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241C8D-8F60-5B4B-B615-956F197730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325DA8-8ABC-934D-BF1C-C6EA3E1B97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72C171-5DE3-464E-9733-25B3C2B04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3310E2-9EA1-6A4C-8824-57E0A417C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F013C6-3B53-0D4A-86C1-64E0C9F147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64"/>
          <a:stretch/>
        </p:blipFill>
        <p:spPr>
          <a:xfrm>
            <a:off x="4772025" y="0"/>
            <a:ext cx="7488472" cy="56052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758E99D-48B1-F44C-80AF-2F938A82F1E0}"/>
              </a:ext>
            </a:extLst>
          </p:cNvPr>
          <p:cNvSpPr/>
          <p:nvPr userDrawn="1"/>
        </p:nvSpPr>
        <p:spPr>
          <a:xfrm>
            <a:off x="-45076" y="5605200"/>
            <a:ext cx="12237076" cy="4414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026411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T-Light Title, Logo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0" y="285757"/>
            <a:ext cx="12192000" cy="6762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267" b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87680" y="1060780"/>
            <a:ext cx="11216640" cy="5223907"/>
          </a:xfrm>
          <a:prstGeom prst="rect">
            <a:avLst/>
          </a:prstGeom>
          <a:noFill/>
        </p:spPr>
        <p:txBody>
          <a:bodyPr/>
          <a:lstStyle>
            <a:lvl1pPr marL="12700" indent="-12700">
              <a:buClr>
                <a:srgbClr val="82BC00"/>
              </a:buClr>
              <a:buSzPct val="25000"/>
              <a:tabLst/>
              <a:defRPr lang="en-US" altLang="en-US" sz="3467" b="0" i="0" kern="1200" dirty="0" smtClean="0">
                <a:solidFill>
                  <a:schemeClr val="tx2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543970" indent="-402157">
              <a:buClr>
                <a:srgbClr val="DCE0E4"/>
              </a:buClr>
              <a:buSzPct val="100000"/>
              <a:buFontTx/>
              <a:buBlip>
                <a:blip r:embed="rId2"/>
              </a:buBlip>
              <a:tabLst/>
              <a:defRPr lang="en-US" altLang="en-US" sz="2400" b="0" i="0" kern="1200" dirty="0" smtClean="0">
                <a:solidFill>
                  <a:schemeClr val="tx2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075240" indent="-387341">
              <a:buClr>
                <a:schemeClr val="accent1"/>
              </a:buClr>
              <a:buSzPct val="100000"/>
              <a:buFont typeface="Courier New" charset="0"/>
              <a:buChar char="o"/>
              <a:tabLst/>
              <a:defRPr lang="en-US" altLang="en-US" sz="2133" b="0" i="0" kern="1200" dirty="0" smtClean="0">
                <a:solidFill>
                  <a:schemeClr val="tx2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6511" indent="-302676">
              <a:buClr>
                <a:schemeClr val="accent1"/>
              </a:buClr>
              <a:buSzPct val="100000"/>
              <a:buFont typeface="Wingdings" charset="2"/>
              <a:buChar char="§"/>
              <a:tabLst/>
              <a:defRPr lang="en-US" altLang="en-US" sz="2000" b="0" i="0" kern="1200" dirty="0" smtClean="0">
                <a:solidFill>
                  <a:schemeClr val="tx2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137780" indent="-315376">
              <a:buClr>
                <a:schemeClr val="accent2"/>
              </a:buClr>
              <a:buSzPct val="100000"/>
              <a:buFont typeface="Arial" charset="0"/>
              <a:buChar char="•"/>
              <a:tabLst/>
              <a:defRPr lang="en-US" altLang="en-US" sz="2000" b="0" i="0" kern="1200" dirty="0" smtClean="0">
                <a:solidFill>
                  <a:schemeClr val="tx2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79057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0" y="285757"/>
            <a:ext cx="12192000" cy="676276"/>
          </a:xfrm>
        </p:spPr>
        <p:txBody>
          <a:bodyPr>
            <a:noAutofit/>
          </a:bodyPr>
          <a:lstStyle>
            <a:lvl1pPr>
              <a:defRPr sz="4267" b="1" i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858910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CB0D768-D9BF-4555-B246-BB0DE7ED4C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59391" y="1657910"/>
            <a:ext cx="9883896" cy="780598"/>
          </a:xfrm>
        </p:spPr>
        <p:txBody>
          <a:bodyPr wrap="square" anchor="b">
            <a:spAutoFit/>
          </a:bodyPr>
          <a:lstStyle>
            <a:lvl1pPr algn="l">
              <a:lnSpc>
                <a:spcPts val="4800"/>
              </a:lnSpc>
              <a:defRPr sz="3733" b="0" cap="none" baseline="0">
                <a:solidFill>
                  <a:srgbClr val="1A1B2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59391" y="2532355"/>
            <a:ext cx="9883895" cy="595099"/>
          </a:xfrm>
        </p:spPr>
        <p:txBody>
          <a:bodyPr anchor="b" anchorCtr="0">
            <a:spAutoFit/>
          </a:bodyPr>
          <a:lstStyle>
            <a:lvl1pPr marL="0" indent="0" algn="l">
              <a:buNone/>
              <a:defRPr sz="2667" spc="-67" baseline="0">
                <a:solidFill>
                  <a:srgbClr val="1A1B2F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9395" y="3770903"/>
            <a:ext cx="5767916" cy="471989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rgbClr val="1A1B2F"/>
                </a:solidFill>
              </a:defRPr>
            </a:lvl1pPr>
          </a:lstStyle>
          <a:p>
            <a:pPr lvl="0"/>
            <a:r>
              <a:rPr lang="en-US"/>
              <a:t>Presenter's Nam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55F68B-B7A1-433D-98C7-51101DFE68D8}"/>
              </a:ext>
            </a:extLst>
          </p:cNvPr>
          <p:cNvSpPr txBox="1"/>
          <p:nvPr/>
        </p:nvSpPr>
        <p:spPr>
          <a:xfrm>
            <a:off x="125793" y="6492909"/>
            <a:ext cx="289848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19 PLANVIEW, INC.  // 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6520D1-A9C3-442A-9E33-8C6B162F65A6}"/>
              </a:ext>
            </a:extLst>
          </p:cNvPr>
          <p:cNvSpPr txBox="1"/>
          <p:nvPr userDrawn="1"/>
        </p:nvSpPr>
        <p:spPr>
          <a:xfrm>
            <a:off x="125793" y="6492909"/>
            <a:ext cx="289848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bg1"/>
                </a:solidFill>
              </a:rPr>
              <a:t>© 2021 PLANVIEW, INC.  //  CONFIDENTIA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AF14843-F73A-4540-BC67-FAA99224FB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86539" y="621237"/>
            <a:ext cx="2381040" cy="65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041527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B87D5BD-CD2D-4609-B803-1B176ADE034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60392" y="6302125"/>
            <a:ext cx="1507504" cy="416640"/>
          </a:xfrm>
          <a:prstGeom prst="rect">
            <a:avLst/>
          </a:prstGeom>
        </p:spPr>
      </p:pic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51104" y="1341120"/>
            <a:ext cx="11253216" cy="5084016"/>
          </a:xfrm>
        </p:spPr>
        <p:txBody>
          <a:bodyPr lIns="91440" tIns="91440" rIns="91440" bIns="91440"/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>
                  <a:lumMod val="75000"/>
                </a:schemeClr>
              </a:buClr>
              <a:defRPr spc="-4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>
                  <a:lumMod val="75000"/>
                </a:schemeClr>
              </a:buClr>
              <a:defRPr spc="-4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>
                  <a:lumMod val="75000"/>
                </a:schemeClr>
              </a:buClr>
              <a:defRPr sz="2400" spc="-4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>
                  <a:lumMod val="75000"/>
                </a:schemeClr>
              </a:buClr>
              <a:defRPr sz="2133" spc="-4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1867" spc="-4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51104" y="384049"/>
            <a:ext cx="11253216" cy="699516"/>
          </a:xfrm>
          <a:prstGeom prst="rect">
            <a:avLst/>
          </a:prstGeom>
        </p:spPr>
        <p:txBody>
          <a:bodyPr vert="horz" lIns="91440" tIns="91440" rIns="91440" bIns="91440" rtlCol="0" anchor="t" anchorCtr="0">
            <a:noAutofit/>
          </a:bodyPr>
          <a:lstStyle>
            <a:lvl1pPr>
              <a:defRPr sz="3733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31ECB86-1682-413A-A21F-0ECE2BC5A85B}"/>
              </a:ext>
            </a:extLst>
          </p:cNvPr>
          <p:cNvSpPr txBox="1"/>
          <p:nvPr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1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53012097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1104" y="384049"/>
            <a:ext cx="11253216" cy="726948"/>
          </a:xfrm>
        </p:spPr>
        <p:txBody>
          <a:bodyPr/>
          <a:lstStyle>
            <a:lvl1pPr>
              <a:defRPr sz="3733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1104" y="1341121"/>
            <a:ext cx="5486400" cy="46584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3200" spc="-4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667" spc="-4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400" spc="-4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133" spc="-4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1867" spc="-4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53600" y="1341121"/>
            <a:ext cx="5486400" cy="46584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3200" spc="-4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667" spc="-4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400" spc="-4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133" spc="-4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1867" spc="-4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6F1E00D-3DB2-4BFA-88C5-4AA558D4FD3A}"/>
              </a:ext>
            </a:extLst>
          </p:cNvPr>
          <p:cNvSpPr txBox="1"/>
          <p:nvPr userDrawn="1"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1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14408BD-6B5C-41E8-8F47-3883FA455F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60392" y="6302125"/>
            <a:ext cx="1507504" cy="416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0810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1104" y="384048"/>
            <a:ext cx="11253216" cy="724205"/>
          </a:xfrm>
        </p:spPr>
        <p:txBody>
          <a:bodyPr/>
          <a:lstStyle>
            <a:lvl1pPr>
              <a:defRPr sz="3733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1104" y="1341120"/>
            <a:ext cx="5486400" cy="639763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1104" y="2072640"/>
            <a:ext cx="5486400" cy="446184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3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667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133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133">
                <a:solidFill>
                  <a:schemeClr val="tx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53440" y="1341120"/>
            <a:ext cx="5486400" cy="639763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lang="en-US" sz="3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53440" y="2072640"/>
            <a:ext cx="5486400" cy="446184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3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667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133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133">
                <a:solidFill>
                  <a:schemeClr val="tx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2C12EFA-D39F-4530-9A84-F1EA94BA7696}"/>
              </a:ext>
            </a:extLst>
          </p:cNvPr>
          <p:cNvSpPr txBox="1"/>
          <p:nvPr userDrawn="1"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1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D7776C4-72AD-4179-A5FE-5D65FA8AA0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60392" y="6302125"/>
            <a:ext cx="1507504" cy="416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520582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F1B4925-0429-4F50-88D7-9B358DBB79E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8487" y="6282773"/>
            <a:ext cx="1512612" cy="41664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1104" y="384048"/>
            <a:ext cx="11253216" cy="724205"/>
          </a:xfrm>
        </p:spPr>
        <p:txBody>
          <a:bodyPr/>
          <a:lstStyle>
            <a:lvl1pPr>
              <a:defRPr sz="3733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1104" y="1341120"/>
            <a:ext cx="5486400" cy="639763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1104" y="2072640"/>
            <a:ext cx="5486400" cy="446184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3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667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133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133">
                <a:solidFill>
                  <a:schemeClr val="tx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53440" y="1341120"/>
            <a:ext cx="5486400" cy="639763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lang="en-US" sz="3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53440" y="2072640"/>
            <a:ext cx="5486400" cy="446184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3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667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133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133">
                <a:solidFill>
                  <a:schemeClr val="tx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64C9E9F-23D7-4B20-B42C-5056A727FDD6}"/>
              </a:ext>
            </a:extLst>
          </p:cNvPr>
          <p:cNvSpPr txBox="1"/>
          <p:nvPr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0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5904149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37ABC85-44CE-4DCF-9DA4-313F2C31AB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7301" y="0"/>
            <a:ext cx="58547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258D847-B7BE-4BB8-A108-0CB419C4AC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37301" y="0"/>
            <a:ext cx="5854700" cy="6858000"/>
          </a:xfrm>
          <a:prstGeom prst="rect">
            <a:avLst/>
          </a:prstGeom>
        </p:spPr>
      </p:pic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55904" y="3608833"/>
            <a:ext cx="7177133" cy="595099"/>
          </a:xfrm>
        </p:spPr>
        <p:txBody>
          <a:bodyPr lIns="91440" tIns="91440" rIns="91440" bIns="91440">
            <a:spAutoFit/>
          </a:bodyPr>
          <a:lstStyle>
            <a:lvl1pPr marL="0" indent="0" algn="l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buNone/>
              <a:defRPr sz="2667" spc="-4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pc="-40">
                <a:solidFill>
                  <a:srgbClr val="515151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2400" spc="-40">
                <a:solidFill>
                  <a:srgbClr val="51515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2133" spc="-40">
                <a:solidFill>
                  <a:srgbClr val="515151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1867" spc="-40">
                <a:solidFill>
                  <a:srgbClr val="51515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755905" y="2596895"/>
            <a:ext cx="7498409" cy="865632"/>
          </a:xfrm>
          <a:prstGeom prst="rect">
            <a:avLst/>
          </a:prstGeom>
        </p:spPr>
        <p:txBody>
          <a:bodyPr vert="horz" lIns="91440" tIns="91440" rIns="91440" bIns="91440" rtlCol="0" anchor="b" anchorCtr="0">
            <a:noAutofit/>
          </a:bodyPr>
          <a:lstStyle>
            <a:lvl1pPr algn="l">
              <a:defRPr sz="3733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3BF102A-0201-421D-B639-5528C6F8FABC}"/>
              </a:ext>
            </a:extLst>
          </p:cNvPr>
          <p:cNvSpPr txBox="1"/>
          <p:nvPr userDrawn="1"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1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386997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1104" y="384048"/>
            <a:ext cx="11253216" cy="724205"/>
          </a:xfrm>
        </p:spPr>
        <p:txBody>
          <a:bodyPr/>
          <a:lstStyle>
            <a:lvl1pPr>
              <a:defRPr sz="3733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BED3C35-83A2-4DF2-9463-7FB5BE37903A}"/>
              </a:ext>
            </a:extLst>
          </p:cNvPr>
          <p:cNvSpPr txBox="1"/>
          <p:nvPr userDrawn="1"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1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FA197C9-2C28-48CA-9F19-01FB76FA15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60392" y="6302125"/>
            <a:ext cx="1507504" cy="416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5925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19EF22D-A13E-43AA-85AF-259A7E2F0540}"/>
              </a:ext>
            </a:extLst>
          </p:cNvPr>
          <p:cNvSpPr txBox="1"/>
          <p:nvPr userDrawn="1"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1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171F6BC-E62A-4671-9BFF-C93F53A33A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60392" y="6302125"/>
            <a:ext cx="1507504" cy="416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5941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258D847-B7BE-4BB8-A108-0CB419C4AC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7301" y="0"/>
            <a:ext cx="58547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37ABC85-44CE-4DCF-9DA4-313F2C31AB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7301" y="0"/>
            <a:ext cx="5854700" cy="6858000"/>
          </a:xfrm>
          <a:prstGeom prst="rect">
            <a:avLst/>
          </a:prstGeom>
        </p:spPr>
      </p:pic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55904" y="3608833"/>
            <a:ext cx="7177133" cy="595099"/>
          </a:xfrm>
        </p:spPr>
        <p:txBody>
          <a:bodyPr lIns="91440" tIns="91440" rIns="91440" bIns="91440">
            <a:spAutoFit/>
          </a:bodyPr>
          <a:lstStyle>
            <a:lvl1pPr marL="0" indent="0" algn="l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buNone/>
              <a:defRPr sz="2667" spc="-4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pc="-40">
                <a:solidFill>
                  <a:srgbClr val="515151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2400" spc="-40">
                <a:solidFill>
                  <a:srgbClr val="51515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2133" spc="-40">
                <a:solidFill>
                  <a:srgbClr val="515151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1867" spc="-40">
                <a:solidFill>
                  <a:srgbClr val="51515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755905" y="2596895"/>
            <a:ext cx="7498409" cy="865632"/>
          </a:xfrm>
          <a:prstGeom prst="rect">
            <a:avLst/>
          </a:prstGeom>
        </p:spPr>
        <p:txBody>
          <a:bodyPr vert="horz" lIns="91440" tIns="91440" rIns="91440" bIns="91440" rtlCol="0" anchor="b" anchorCtr="0">
            <a:noAutofit/>
          </a:bodyPr>
          <a:lstStyle>
            <a:lvl1pPr algn="l">
              <a:defRPr sz="3733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3C1D85B-84CE-4DA9-84BC-8985E23599B4}"/>
              </a:ext>
            </a:extLst>
          </p:cNvPr>
          <p:cNvSpPr txBox="1"/>
          <p:nvPr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0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790600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1104" y="384048"/>
            <a:ext cx="11253216" cy="724205"/>
          </a:xfrm>
        </p:spPr>
        <p:txBody>
          <a:bodyPr/>
          <a:lstStyle>
            <a:lvl1pPr>
              <a:defRPr sz="3733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9B08F74-FBFE-42F8-B9A7-50325120A29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8487" y="6282773"/>
            <a:ext cx="1512612" cy="41664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55B1E69-6EA2-47D0-B56C-F93A9FEBCB9F}"/>
              </a:ext>
            </a:extLst>
          </p:cNvPr>
          <p:cNvSpPr txBox="1"/>
          <p:nvPr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0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7D3B55-930B-4B21-9C7B-B563F6387E8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8487" y="6282773"/>
            <a:ext cx="1512612" cy="416640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0E5BF5-9240-49C9-A863-94BAF93A26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54374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0E5BF5-9240-49C9-A863-94BAF93A26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65658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277C295-5258-473E-9821-BDA771A36C2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8487" y="6282773"/>
            <a:ext cx="1512612" cy="41664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92C8391-C2DA-4534-8A48-C73A58FE23E3}"/>
              </a:ext>
            </a:extLst>
          </p:cNvPr>
          <p:cNvSpPr txBox="1"/>
          <p:nvPr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0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05C9632-A518-400B-A7AE-0637050665D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8487" y="6282773"/>
            <a:ext cx="1512612" cy="416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8868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14863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92480" y="1066800"/>
            <a:ext cx="10611283" cy="5358336"/>
          </a:xfrm>
        </p:spPr>
        <p:txBody>
          <a:bodyPr lIns="91440" tIns="91440" rIns="91440" bIns="91440"/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pc="-40">
                <a:solidFill>
                  <a:srgbClr val="515151"/>
                </a:solidFill>
              </a:defRPr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pc="-40">
                <a:solidFill>
                  <a:srgbClr val="515151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2400" spc="-40">
                <a:solidFill>
                  <a:srgbClr val="51515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2133" spc="-40">
                <a:solidFill>
                  <a:srgbClr val="515151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1867" spc="-40">
                <a:solidFill>
                  <a:srgbClr val="51515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792480" y="152400"/>
            <a:ext cx="10594848" cy="699516"/>
          </a:xfrm>
          <a:prstGeom prst="rect">
            <a:avLst/>
          </a:prstGeom>
        </p:spPr>
        <p:txBody>
          <a:bodyPr vert="horz" lIns="91440" tIns="91440" rIns="91440" bIns="91440" rtlCol="0" anchor="t" anchorCtr="0">
            <a:noAutofit/>
          </a:bodyPr>
          <a:lstStyle>
            <a:lvl1pPr>
              <a:defRPr sz="4267">
                <a:solidFill>
                  <a:srgbClr val="51515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3773E5C-36B5-4253-9F57-C2B6963860FC}"/>
              </a:ext>
            </a:extLst>
          </p:cNvPr>
          <p:cNvSpPr txBox="1"/>
          <p:nvPr userDrawn="1"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0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908368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92480" y="1341120"/>
            <a:ext cx="10611283" cy="5084016"/>
          </a:xfrm>
        </p:spPr>
        <p:txBody>
          <a:bodyPr lIns="91440" tIns="91440" rIns="91440" bIns="91440"/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pc="-40">
                <a:solidFill>
                  <a:srgbClr val="515151"/>
                </a:solidFill>
              </a:defRPr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pc="-40">
                <a:solidFill>
                  <a:srgbClr val="515151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2400" spc="-40">
                <a:solidFill>
                  <a:srgbClr val="51515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2133" spc="-40">
                <a:solidFill>
                  <a:srgbClr val="515151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1867" spc="-40">
                <a:solidFill>
                  <a:srgbClr val="51515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792480" y="384049"/>
            <a:ext cx="10594848" cy="699516"/>
          </a:xfrm>
          <a:prstGeom prst="rect">
            <a:avLst/>
          </a:prstGeom>
        </p:spPr>
        <p:txBody>
          <a:bodyPr vert="horz" lIns="91440" tIns="91440" rIns="91440" bIns="91440" rtlCol="0" anchor="t" anchorCtr="0">
            <a:noAutofit/>
          </a:bodyPr>
          <a:lstStyle>
            <a:lvl1pPr>
              <a:defRPr>
                <a:solidFill>
                  <a:srgbClr val="51515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5059" y="6377469"/>
            <a:ext cx="1431597" cy="33761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D89503A-A58C-44B1-9688-1B379EB4CEFB}"/>
              </a:ext>
            </a:extLst>
          </p:cNvPr>
          <p:cNvSpPr txBox="1"/>
          <p:nvPr userDrawn="1"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0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58211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17.xml"/><Relationship Id="rId21" Type="http://schemas.openxmlformats.org/officeDocument/2006/relationships/slideLayout" Target="../slideLayouts/slideLayout35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4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image" Target="../media/image10.png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image" Target="../media/image9.png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5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1104" y="384048"/>
            <a:ext cx="11253216" cy="724205"/>
          </a:xfrm>
          <a:prstGeom prst="rect">
            <a:avLst/>
          </a:prstGeom>
        </p:spPr>
        <p:txBody>
          <a:bodyPr vert="horz" lIns="91440" tIns="91440" rIns="91440" bIns="9144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1104" y="1341121"/>
            <a:ext cx="11253216" cy="4191609"/>
          </a:xfrm>
          <a:prstGeom prst="rect">
            <a:avLst/>
          </a:prstGeom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A13AA6-741E-4583-9AD2-04A7CA6636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8413608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A13AA6-741E-4583-9AD2-04A7CA6636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49111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ctr" defTabSz="1219170" rtl="0" eaLnBrk="1" latinLnBrk="0" hangingPunct="1">
        <a:lnSpc>
          <a:spcPts val="3733"/>
        </a:lnSpc>
        <a:spcBef>
          <a:spcPct val="0"/>
        </a:spcBef>
        <a:buNone/>
        <a:defRPr sz="4267" kern="1200" spc="-67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3834" indent="-243834" algn="l" defTabSz="1219170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1">
            <a:lumMod val="75000"/>
          </a:schemeClr>
        </a:buClr>
        <a:buSzPct val="85000"/>
        <a:buFont typeface="Arial" pitchFamily="34" charset="0"/>
        <a:buChar char="•"/>
        <a:defRPr sz="3467" kern="1200" spc="-40">
          <a:solidFill>
            <a:srgbClr val="515151"/>
          </a:solidFill>
          <a:latin typeface="+mn-lt"/>
          <a:ea typeface="+mn-ea"/>
          <a:cs typeface="+mn-cs"/>
        </a:defRPr>
      </a:lvl1pPr>
      <a:lvl2pPr marL="609585" indent="-243834" algn="l" defTabSz="1219170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1">
            <a:lumMod val="75000"/>
          </a:schemeClr>
        </a:buClr>
        <a:buSzPct val="85000"/>
        <a:buFont typeface="Arial" pitchFamily="34" charset="0"/>
        <a:buChar char="•"/>
        <a:defRPr sz="2667" kern="1200" spc="-40">
          <a:solidFill>
            <a:srgbClr val="515151"/>
          </a:solidFill>
          <a:latin typeface="+mn-lt"/>
          <a:ea typeface="+mn-ea"/>
          <a:cs typeface="+mn-cs"/>
        </a:defRPr>
      </a:lvl2pPr>
      <a:lvl3pPr marL="975336" indent="-243834" algn="l" defTabSz="1219170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1">
            <a:lumMod val="75000"/>
          </a:schemeClr>
        </a:buClr>
        <a:buSzPct val="90000"/>
        <a:buFont typeface="Arial" pitchFamily="34" charset="0"/>
        <a:buChar char="•"/>
        <a:defRPr sz="2400" kern="1200" spc="-40">
          <a:solidFill>
            <a:srgbClr val="515151"/>
          </a:solidFill>
          <a:latin typeface="+mn-lt"/>
          <a:ea typeface="+mn-ea"/>
          <a:cs typeface="+mn-cs"/>
        </a:defRPr>
      </a:lvl3pPr>
      <a:lvl4pPr marL="1341086" indent="-243834" algn="l" defTabSz="1219170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1">
            <a:lumMod val="75000"/>
          </a:schemeClr>
        </a:buClr>
        <a:buFont typeface="Arial" pitchFamily="34" charset="0"/>
        <a:buChar char="•"/>
        <a:defRPr sz="2133" kern="1200" spc="-40">
          <a:solidFill>
            <a:srgbClr val="515151"/>
          </a:solidFill>
          <a:latin typeface="+mn-lt"/>
          <a:ea typeface="+mn-ea"/>
          <a:cs typeface="+mn-cs"/>
        </a:defRPr>
      </a:lvl4pPr>
      <a:lvl5pPr marL="1584920" indent="-182875" algn="l" defTabSz="1219170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1">
            <a:lumMod val="75000"/>
          </a:schemeClr>
        </a:buClr>
        <a:buSzPct val="100000"/>
        <a:buFont typeface="Arial" pitchFamily="34" charset="0"/>
        <a:buChar char="•"/>
        <a:defRPr sz="1867" kern="1200" spc="-40" baseline="0">
          <a:solidFill>
            <a:srgbClr val="515151"/>
          </a:solidFill>
          <a:latin typeface="+mn-lt"/>
          <a:ea typeface="+mn-ea"/>
          <a:cs typeface="+mn-cs"/>
        </a:defRPr>
      </a:lvl5pPr>
      <a:lvl6pPr marL="1828754" indent="-243834" algn="l" defTabSz="121917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072588" indent="-243834" algn="l" defTabSz="121917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2316422" indent="-243834" algn="l" defTabSz="121917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2560256" indent="-243834" algn="l" defTabSz="121917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90FF277A-0C97-5240-B43E-EFBC2BFAF2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4955" r="234" b="4955"/>
          <a:stretch/>
        </p:blipFill>
        <p:spPr>
          <a:xfrm>
            <a:off x="0" y="0"/>
            <a:ext cx="12192000" cy="5958679"/>
          </a:xfrm>
          <a:prstGeom prst="rect">
            <a:avLst/>
          </a:prstGeom>
          <a:effectLst/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069F698-987B-294B-BC86-D622892F06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766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721FA3-AE00-8F48-BD43-69EE19D95E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CC4BCD-764F-5A43-A742-F260267854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384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3C5B45-42CD-AE4D-9B5A-BFF843F8F60C}" type="datetimeFigureOut">
              <a:rPr lang="en-US" smtClean="0"/>
              <a:t>3/22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4E0624-15DF-D949-8644-E38BCF1E88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96345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0930C7-85C6-0C4F-8645-566B2EFA4F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25890" y="6356350"/>
            <a:ext cx="16279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4FDF618-D198-3E4D-9D65-78517EDD9213}"/>
              </a:ext>
            </a:extLst>
          </p:cNvPr>
          <p:cNvSpPr txBox="1"/>
          <p:nvPr userDrawn="1"/>
        </p:nvSpPr>
        <p:spPr>
          <a:xfrm>
            <a:off x="8962626" y="6415801"/>
            <a:ext cx="2878974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US" sz="800" b="0" i="0">
                <a:solidFill>
                  <a:schemeClr val="accent6">
                    <a:lumMod val="40000"/>
                    <a:lumOff val="60000"/>
                  </a:schemeClr>
                </a:solidFill>
                <a:latin typeface="+mn-lt"/>
                <a:ea typeface="Calibri Light" charset="0"/>
                <a:cs typeface="Calibri Light" charset="0"/>
              </a:rPr>
              <a:t>© 2019 </a:t>
            </a:r>
            <a:r>
              <a:rPr lang="en-CA" sz="800" b="0" i="0" kern="1200" err="1">
                <a:solidFill>
                  <a:schemeClr val="accent6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Tasktop</a:t>
            </a:r>
            <a:endParaRPr lang="en-US" sz="800" b="0" i="0">
              <a:solidFill>
                <a:schemeClr val="accent6">
                  <a:lumMod val="40000"/>
                  <a:lumOff val="60000"/>
                </a:schemeClr>
              </a:solidFill>
              <a:latin typeface="+mn-lt"/>
              <a:ea typeface="Calibri Light" charset="0"/>
              <a:cs typeface="Calibri Light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D54089C-E1A5-5444-B513-F4DD9424E9A5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400" y="5958682"/>
            <a:ext cx="1798634" cy="899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818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spcAft>
          <a:spcPts val="600"/>
        </a:spcAft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800100" indent="-342900" algn="l" defTabSz="914400" rtl="0" eaLnBrk="1" latinLnBrk="0" hangingPunct="1">
        <a:lnSpc>
          <a:spcPct val="90000"/>
        </a:lnSpc>
        <a:spcBef>
          <a:spcPts val="500"/>
        </a:spcBef>
        <a:buClr>
          <a:schemeClr val="accent6"/>
        </a:buClr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6"/>
        </a:buClr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1104" y="384048"/>
            <a:ext cx="11253216" cy="724205"/>
          </a:xfrm>
          <a:prstGeom prst="rect">
            <a:avLst/>
          </a:prstGeom>
        </p:spPr>
        <p:txBody>
          <a:bodyPr vert="horz" lIns="91440" tIns="91440" rIns="91440" bIns="9144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1104" y="1341121"/>
            <a:ext cx="11253216" cy="4191609"/>
          </a:xfrm>
          <a:prstGeom prst="rect">
            <a:avLst/>
          </a:prstGeom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1294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</p:sldLayoutIdLst>
  <p:hf hdr="0" dt="0"/>
  <p:txStyles>
    <p:titleStyle>
      <a:lvl1pPr algn="ctr" defTabSz="1219170" rtl="0" eaLnBrk="1" latinLnBrk="0" hangingPunct="1">
        <a:lnSpc>
          <a:spcPts val="3733"/>
        </a:lnSpc>
        <a:spcBef>
          <a:spcPct val="0"/>
        </a:spcBef>
        <a:buNone/>
        <a:defRPr sz="4267" kern="1200" spc="-67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3834" indent="-243834" algn="l" defTabSz="1219170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1">
            <a:lumMod val="75000"/>
          </a:schemeClr>
        </a:buClr>
        <a:buSzPct val="85000"/>
        <a:buFont typeface="Arial" pitchFamily="34" charset="0"/>
        <a:buChar char="•"/>
        <a:defRPr sz="3467" kern="1200" spc="-40">
          <a:solidFill>
            <a:srgbClr val="241B2F"/>
          </a:solidFill>
          <a:latin typeface="+mn-lt"/>
          <a:ea typeface="+mn-ea"/>
          <a:cs typeface="+mn-cs"/>
        </a:defRPr>
      </a:lvl1pPr>
      <a:lvl2pPr marL="609585" indent="-243834" algn="l" defTabSz="1219170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1">
            <a:lumMod val="75000"/>
          </a:schemeClr>
        </a:buClr>
        <a:buSzPct val="85000"/>
        <a:buFont typeface="Arial" pitchFamily="34" charset="0"/>
        <a:buChar char="•"/>
        <a:defRPr sz="2667" kern="1200" spc="-40">
          <a:solidFill>
            <a:srgbClr val="241B2F"/>
          </a:solidFill>
          <a:latin typeface="+mn-lt"/>
          <a:ea typeface="+mn-ea"/>
          <a:cs typeface="+mn-cs"/>
        </a:defRPr>
      </a:lvl2pPr>
      <a:lvl3pPr marL="975336" indent="-243834" algn="l" defTabSz="1219170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1">
            <a:lumMod val="75000"/>
          </a:schemeClr>
        </a:buClr>
        <a:buSzPct val="90000"/>
        <a:buFont typeface="Arial" pitchFamily="34" charset="0"/>
        <a:buChar char="•"/>
        <a:defRPr sz="2400" kern="1200" spc="-40">
          <a:solidFill>
            <a:srgbClr val="241B2F"/>
          </a:solidFill>
          <a:latin typeface="+mn-lt"/>
          <a:ea typeface="+mn-ea"/>
          <a:cs typeface="+mn-cs"/>
        </a:defRPr>
      </a:lvl3pPr>
      <a:lvl4pPr marL="1341086" indent="-243834" algn="l" defTabSz="1219170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1">
            <a:lumMod val="75000"/>
          </a:schemeClr>
        </a:buClr>
        <a:buFont typeface="Arial" pitchFamily="34" charset="0"/>
        <a:buChar char="•"/>
        <a:defRPr sz="2133" kern="1200" spc="-40">
          <a:solidFill>
            <a:srgbClr val="241B2F"/>
          </a:solidFill>
          <a:latin typeface="+mn-lt"/>
          <a:ea typeface="+mn-ea"/>
          <a:cs typeface="+mn-cs"/>
        </a:defRPr>
      </a:lvl4pPr>
      <a:lvl5pPr marL="1584920" indent="-182875" algn="l" defTabSz="1219170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1">
            <a:lumMod val="75000"/>
          </a:schemeClr>
        </a:buClr>
        <a:buSzPct val="100000"/>
        <a:buFont typeface="Arial" pitchFamily="34" charset="0"/>
        <a:buChar char="•"/>
        <a:defRPr sz="1867" kern="1200" spc="-40" baseline="0">
          <a:solidFill>
            <a:srgbClr val="241B2F"/>
          </a:solidFill>
          <a:latin typeface="+mn-lt"/>
          <a:ea typeface="+mn-ea"/>
          <a:cs typeface="+mn-cs"/>
        </a:defRPr>
      </a:lvl5pPr>
      <a:lvl6pPr marL="1828754" indent="-243834" algn="l" defTabSz="121917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072588" indent="-243834" algn="l" defTabSz="121917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2316422" indent="-243834" algn="l" defTabSz="121917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2560256" indent="-243834" algn="l" defTabSz="121917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DF9469DF-C4F6-4F8C-853E-103F1C091396}"/>
              </a:ext>
            </a:extLst>
          </p:cNvPr>
          <p:cNvSpPr/>
          <p:nvPr/>
        </p:nvSpPr>
        <p:spPr>
          <a:xfrm>
            <a:off x="6387940" y="4505326"/>
            <a:ext cx="3363737" cy="1891550"/>
          </a:xfrm>
          <a:prstGeom prst="rect">
            <a:avLst/>
          </a:prstGeom>
          <a:solidFill>
            <a:schemeClr val="bg1">
              <a:alpha val="25000"/>
            </a:schemeClr>
          </a:solidFill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9FC8B24-BB65-490F-B2DA-8C54563A3AE5}"/>
              </a:ext>
            </a:extLst>
          </p:cNvPr>
          <p:cNvSpPr/>
          <p:nvPr/>
        </p:nvSpPr>
        <p:spPr>
          <a:xfrm>
            <a:off x="650654" y="1904180"/>
            <a:ext cx="8795188" cy="1992632"/>
          </a:xfrm>
          <a:prstGeom prst="rect">
            <a:avLst/>
          </a:prstGeom>
          <a:solidFill>
            <a:schemeClr val="bg1">
              <a:alpha val="25000"/>
            </a:schemeClr>
          </a:solidFill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C199445-9025-4733-97CD-E7A1734D1C04}"/>
              </a:ext>
            </a:extLst>
          </p:cNvPr>
          <p:cNvSpPr/>
          <p:nvPr/>
        </p:nvSpPr>
        <p:spPr>
          <a:xfrm>
            <a:off x="3860622" y="4073705"/>
            <a:ext cx="2076565" cy="2323171"/>
          </a:xfrm>
          <a:prstGeom prst="rect">
            <a:avLst/>
          </a:prstGeom>
          <a:solidFill>
            <a:schemeClr val="bg1">
              <a:alpha val="25000"/>
            </a:schemeClr>
          </a:solidFill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8" name="Connector: Elbow 21">
            <a:extLst>
              <a:ext uri="{FF2B5EF4-FFF2-40B4-BE49-F238E27FC236}">
                <a16:creationId xmlns:a16="http://schemas.microsoft.com/office/drawing/2014/main" id="{A4571E5D-BFE3-48E8-9417-7779F3C86F62}"/>
              </a:ext>
            </a:extLst>
          </p:cNvPr>
          <p:cNvCxnSpPr>
            <a:cxnSpLocks/>
            <a:stCxn id="23" idx="2"/>
            <a:endCxn id="57" idx="0"/>
          </p:cNvCxnSpPr>
          <p:nvPr/>
        </p:nvCxnSpPr>
        <p:spPr>
          <a:xfrm rot="5400000">
            <a:off x="8266528" y="3651300"/>
            <a:ext cx="724635" cy="7756"/>
          </a:xfrm>
          <a:prstGeom prst="bentConnector3">
            <a:avLst>
              <a:gd name="adj1" fmla="val -17300"/>
            </a:avLst>
          </a:prstGeom>
          <a:ln w="190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nector: Elbow 80">
            <a:extLst>
              <a:ext uri="{FF2B5EF4-FFF2-40B4-BE49-F238E27FC236}">
                <a16:creationId xmlns:a16="http://schemas.microsoft.com/office/drawing/2014/main" id="{366B89FF-E2B9-4D45-85A7-514C02F72CD2}"/>
              </a:ext>
            </a:extLst>
          </p:cNvPr>
          <p:cNvCxnSpPr>
            <a:cxnSpLocks/>
            <a:endCxn id="40" idx="3"/>
          </p:cNvCxnSpPr>
          <p:nvPr/>
        </p:nvCxnSpPr>
        <p:spPr>
          <a:xfrm rot="5400000">
            <a:off x="8918570" y="3840647"/>
            <a:ext cx="1794641" cy="553324"/>
          </a:xfrm>
          <a:prstGeom prst="bentConnector2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21">
            <a:extLst>
              <a:ext uri="{FF2B5EF4-FFF2-40B4-BE49-F238E27FC236}">
                <a16:creationId xmlns:a16="http://schemas.microsoft.com/office/drawing/2014/main" id="{08982A85-D470-4646-9A82-215EC246A221}"/>
              </a:ext>
            </a:extLst>
          </p:cNvPr>
          <p:cNvCxnSpPr>
            <a:cxnSpLocks/>
            <a:stCxn id="53" idx="1"/>
            <a:endCxn id="6" idx="1"/>
          </p:cNvCxnSpPr>
          <p:nvPr/>
        </p:nvCxnSpPr>
        <p:spPr>
          <a:xfrm rot="10800000" flipV="1">
            <a:off x="896252" y="1450636"/>
            <a:ext cx="4788715" cy="1535374"/>
          </a:xfrm>
          <a:prstGeom prst="bentConnector3">
            <a:avLst>
              <a:gd name="adj1" fmla="val 110336"/>
            </a:avLst>
          </a:prstGeom>
          <a:ln w="190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17B24AB2-215A-4F09-8326-CB4A495BD6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392" y="72776"/>
            <a:ext cx="11253216" cy="699516"/>
          </a:xfrm>
        </p:spPr>
        <p:txBody>
          <a:bodyPr/>
          <a:lstStyle/>
          <a:p>
            <a:r>
              <a:rPr lang="en-GB" sz="2800" dirty="0"/>
              <a:t>Program Backlog Management &gt; Program Capacity Planning &gt; Program Delivery: MASTER</a:t>
            </a:r>
            <a:endParaRPr lang="en-US" sz="2800" dirty="0"/>
          </a:p>
        </p:txBody>
      </p:sp>
      <p:sp>
        <p:nvSpPr>
          <p:cNvPr id="4" name="Rectangle 13">
            <a:extLst>
              <a:ext uri="{FF2B5EF4-FFF2-40B4-BE49-F238E27FC236}">
                <a16:creationId xmlns:a16="http://schemas.microsoft.com/office/drawing/2014/main" id="{8F352C24-0884-457D-94DC-798CC042504C}"/>
              </a:ext>
            </a:extLst>
          </p:cNvPr>
          <p:cNvSpPr/>
          <p:nvPr/>
        </p:nvSpPr>
        <p:spPr>
          <a:xfrm>
            <a:off x="2499486" y="2649879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Describe and categorize features</a:t>
            </a:r>
          </a:p>
        </p:txBody>
      </p:sp>
      <p:sp>
        <p:nvSpPr>
          <p:cNvPr id="5" name="Rectangle 15">
            <a:extLst>
              <a:ext uri="{FF2B5EF4-FFF2-40B4-BE49-F238E27FC236}">
                <a16:creationId xmlns:a16="http://schemas.microsoft.com/office/drawing/2014/main" id="{F6F2A2A2-6407-4CF0-8B43-9611D4332E0B}"/>
              </a:ext>
            </a:extLst>
          </p:cNvPr>
          <p:cNvSpPr/>
          <p:nvPr/>
        </p:nvSpPr>
        <p:spPr>
          <a:xfrm>
            <a:off x="4274344" y="3060064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Estimate sizes</a:t>
            </a:r>
          </a:p>
        </p:txBody>
      </p:sp>
      <p:sp>
        <p:nvSpPr>
          <p:cNvPr id="6" name="Rectangle 20">
            <a:extLst>
              <a:ext uri="{FF2B5EF4-FFF2-40B4-BE49-F238E27FC236}">
                <a16:creationId xmlns:a16="http://schemas.microsoft.com/office/drawing/2014/main" id="{D73B7739-D916-4AC3-AF69-B6725B93D314}"/>
              </a:ext>
            </a:extLst>
          </p:cNvPr>
          <p:cNvSpPr/>
          <p:nvPr/>
        </p:nvSpPr>
        <p:spPr>
          <a:xfrm>
            <a:off x="896251" y="2649879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Create features</a:t>
            </a:r>
          </a:p>
        </p:txBody>
      </p:sp>
      <p:sp>
        <p:nvSpPr>
          <p:cNvPr id="7" name="Rectangle 13">
            <a:extLst>
              <a:ext uri="{FF2B5EF4-FFF2-40B4-BE49-F238E27FC236}">
                <a16:creationId xmlns:a16="http://schemas.microsoft.com/office/drawing/2014/main" id="{23AD0492-22EA-4B4E-A664-C63B3ED614DD}"/>
              </a:ext>
            </a:extLst>
          </p:cNvPr>
          <p:cNvSpPr/>
          <p:nvPr/>
        </p:nvSpPr>
        <p:spPr>
          <a:xfrm>
            <a:off x="4274344" y="2214838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Capture relevant prioritization information (e.g., WSJF)</a:t>
            </a:r>
          </a:p>
        </p:txBody>
      </p:sp>
      <p:sp>
        <p:nvSpPr>
          <p:cNvPr id="8" name="Rectangle 13">
            <a:extLst>
              <a:ext uri="{FF2B5EF4-FFF2-40B4-BE49-F238E27FC236}">
                <a16:creationId xmlns:a16="http://schemas.microsoft.com/office/drawing/2014/main" id="{ADB5A570-58D1-4696-8CE7-58BE334E6F1B}"/>
              </a:ext>
            </a:extLst>
          </p:cNvPr>
          <p:cNvSpPr/>
          <p:nvPr/>
        </p:nvSpPr>
        <p:spPr>
          <a:xfrm>
            <a:off x="6178357" y="2620599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>
                <a:solidFill>
                  <a:srgbClr val="FFFFFF"/>
                </a:solidFill>
              </a:rPr>
              <a:t>Prioritize program backlog </a:t>
            </a:r>
          </a:p>
        </p:txBody>
      </p:sp>
      <p:sp>
        <p:nvSpPr>
          <p:cNvPr id="9" name="Rectangle 13">
            <a:extLst>
              <a:ext uri="{FF2B5EF4-FFF2-40B4-BE49-F238E27FC236}">
                <a16:creationId xmlns:a16="http://schemas.microsoft.com/office/drawing/2014/main" id="{50E70691-3647-49B0-B03E-A500D81BB1CE}"/>
              </a:ext>
            </a:extLst>
          </p:cNvPr>
          <p:cNvSpPr/>
          <p:nvPr/>
        </p:nvSpPr>
        <p:spPr>
          <a:xfrm>
            <a:off x="4274344" y="4190290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Carry out visual capacity planning </a:t>
            </a:r>
          </a:p>
        </p:txBody>
      </p:sp>
      <p:sp>
        <p:nvSpPr>
          <p:cNvPr id="10" name="Rectangle 13">
            <a:extLst>
              <a:ext uri="{FF2B5EF4-FFF2-40B4-BE49-F238E27FC236}">
                <a16:creationId xmlns:a16="http://schemas.microsoft.com/office/drawing/2014/main" id="{600D2B13-5160-4745-878E-71ED98B012DD}"/>
              </a:ext>
            </a:extLst>
          </p:cNvPr>
          <p:cNvSpPr/>
          <p:nvPr/>
        </p:nvSpPr>
        <p:spPr>
          <a:xfrm>
            <a:off x="4274344" y="5073615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Set Team of Teams capacity using WIP limits</a:t>
            </a:r>
          </a:p>
        </p:txBody>
      </p:sp>
      <p:cxnSp>
        <p:nvCxnSpPr>
          <p:cNvPr id="11" name="Connector: Elbow 21">
            <a:extLst>
              <a:ext uri="{FF2B5EF4-FFF2-40B4-BE49-F238E27FC236}">
                <a16:creationId xmlns:a16="http://schemas.microsoft.com/office/drawing/2014/main" id="{8E627183-8DEF-4611-B797-B868FE231CCF}"/>
              </a:ext>
            </a:extLst>
          </p:cNvPr>
          <p:cNvCxnSpPr>
            <a:cxnSpLocks/>
            <a:stCxn id="4" idx="3"/>
            <a:endCxn id="7" idx="1"/>
          </p:cNvCxnSpPr>
          <p:nvPr/>
        </p:nvCxnSpPr>
        <p:spPr>
          <a:xfrm flipV="1">
            <a:off x="3755534" y="2550969"/>
            <a:ext cx="518810" cy="435041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or: Elbow 21">
            <a:extLst>
              <a:ext uri="{FF2B5EF4-FFF2-40B4-BE49-F238E27FC236}">
                <a16:creationId xmlns:a16="http://schemas.microsoft.com/office/drawing/2014/main" id="{BDC6E52F-2162-433D-B058-0861D77C4716}"/>
              </a:ext>
            </a:extLst>
          </p:cNvPr>
          <p:cNvCxnSpPr>
            <a:cxnSpLocks/>
            <a:stCxn id="4" idx="3"/>
            <a:endCxn id="5" idx="1"/>
          </p:cNvCxnSpPr>
          <p:nvPr/>
        </p:nvCxnSpPr>
        <p:spPr>
          <a:xfrm>
            <a:off x="3755534" y="2986010"/>
            <a:ext cx="518810" cy="410185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13">
            <a:extLst>
              <a:ext uri="{FF2B5EF4-FFF2-40B4-BE49-F238E27FC236}">
                <a16:creationId xmlns:a16="http://schemas.microsoft.com/office/drawing/2014/main" id="{7FA82EE5-BC1F-40C1-A76F-AE2467641255}"/>
              </a:ext>
            </a:extLst>
          </p:cNvPr>
          <p:cNvSpPr/>
          <p:nvPr/>
        </p:nvSpPr>
        <p:spPr>
          <a:xfrm>
            <a:off x="8004699" y="2620599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>
                <a:solidFill>
                  <a:srgbClr val="FFFFFF"/>
                </a:solidFill>
              </a:rPr>
              <a:t>Sequence features into appropriate timebox (e.g., iteration) </a:t>
            </a:r>
          </a:p>
        </p:txBody>
      </p:sp>
      <p:sp>
        <p:nvSpPr>
          <p:cNvPr id="24" name="Rectangle 13">
            <a:extLst>
              <a:ext uri="{FF2B5EF4-FFF2-40B4-BE49-F238E27FC236}">
                <a16:creationId xmlns:a16="http://schemas.microsoft.com/office/drawing/2014/main" id="{7F6915A2-51FD-4FCF-ADB5-42AAA39E42F2}"/>
              </a:ext>
            </a:extLst>
          </p:cNvPr>
          <p:cNvSpPr/>
          <p:nvPr/>
        </p:nvSpPr>
        <p:spPr>
          <a:xfrm>
            <a:off x="9853837" y="2620599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Deliver features through underlying stories 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6BD96783-A8FF-427F-BCA0-EA5686163884}"/>
              </a:ext>
            </a:extLst>
          </p:cNvPr>
          <p:cNvCxnSpPr>
            <a:cxnSpLocks/>
            <a:stCxn id="6" idx="3"/>
            <a:endCxn id="4" idx="1"/>
          </p:cNvCxnSpPr>
          <p:nvPr/>
        </p:nvCxnSpPr>
        <p:spPr>
          <a:xfrm>
            <a:off x="2152299" y="2986010"/>
            <a:ext cx="347187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AD486585-6C4E-4AB9-9CA9-168FA6338268}"/>
              </a:ext>
            </a:extLst>
          </p:cNvPr>
          <p:cNvCxnSpPr>
            <a:cxnSpLocks/>
            <a:stCxn id="10" idx="0"/>
            <a:endCxn id="9" idx="2"/>
          </p:cNvCxnSpPr>
          <p:nvPr/>
        </p:nvCxnSpPr>
        <p:spPr>
          <a:xfrm flipV="1">
            <a:off x="4902368" y="4862552"/>
            <a:ext cx="0" cy="21106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A10A59FD-2744-4030-A4D8-FB6C8A8EAEF8}"/>
              </a:ext>
            </a:extLst>
          </p:cNvPr>
          <p:cNvCxnSpPr>
            <a:cxnSpLocks/>
            <a:stCxn id="8" idx="3"/>
            <a:endCxn id="23" idx="1"/>
          </p:cNvCxnSpPr>
          <p:nvPr/>
        </p:nvCxnSpPr>
        <p:spPr>
          <a:xfrm>
            <a:off x="7434405" y="2956730"/>
            <a:ext cx="570294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DDB14979-563B-4540-A061-071459E2A6A8}"/>
              </a:ext>
            </a:extLst>
          </p:cNvPr>
          <p:cNvCxnSpPr>
            <a:cxnSpLocks/>
            <a:stCxn id="23" idx="3"/>
            <a:endCxn id="24" idx="1"/>
          </p:cNvCxnSpPr>
          <p:nvPr/>
        </p:nvCxnSpPr>
        <p:spPr>
          <a:xfrm>
            <a:off x="9260747" y="2956730"/>
            <a:ext cx="59309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3A28EEF9-3E62-4B56-93FA-060709A2374B}"/>
              </a:ext>
            </a:extLst>
          </p:cNvPr>
          <p:cNvSpPr/>
          <p:nvPr/>
        </p:nvSpPr>
        <p:spPr>
          <a:xfrm>
            <a:off x="4000494" y="5887928"/>
            <a:ext cx="1796821" cy="3342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Program Capacity Planning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4B24D132-BC08-49B7-9717-040031181592}"/>
              </a:ext>
            </a:extLst>
          </p:cNvPr>
          <p:cNvSpPr/>
          <p:nvPr/>
        </p:nvSpPr>
        <p:spPr>
          <a:xfrm>
            <a:off x="896251" y="2047690"/>
            <a:ext cx="2066016" cy="3342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Program Backlog Management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19C7E59-0B3E-4457-8721-2CFDA7E303AE}"/>
              </a:ext>
            </a:extLst>
          </p:cNvPr>
          <p:cNvSpPr/>
          <p:nvPr/>
        </p:nvSpPr>
        <p:spPr>
          <a:xfrm>
            <a:off x="7970501" y="4017496"/>
            <a:ext cx="1308932" cy="41808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Team Backlog Management</a:t>
            </a:r>
            <a:endParaRPr lang="en-US" sz="1050" dirty="0">
              <a:solidFill>
                <a:schemeClr val="tx1"/>
              </a:solidFill>
            </a:endParaRPr>
          </a:p>
        </p:txBody>
      </p:sp>
      <p:cxnSp>
        <p:nvCxnSpPr>
          <p:cNvPr id="61" name="Connector: Elbow 21">
            <a:extLst>
              <a:ext uri="{FF2B5EF4-FFF2-40B4-BE49-F238E27FC236}">
                <a16:creationId xmlns:a16="http://schemas.microsoft.com/office/drawing/2014/main" id="{AEBF24BB-2042-4BCF-AE3B-7EA1F96B8305}"/>
              </a:ext>
            </a:extLst>
          </p:cNvPr>
          <p:cNvCxnSpPr>
            <a:cxnSpLocks/>
            <a:stCxn id="57" idx="3"/>
          </p:cNvCxnSpPr>
          <p:nvPr/>
        </p:nvCxnSpPr>
        <p:spPr>
          <a:xfrm flipV="1">
            <a:off x="9279433" y="3309792"/>
            <a:ext cx="659799" cy="916748"/>
          </a:xfrm>
          <a:prstGeom prst="bentConnector2">
            <a:avLst/>
          </a:prstGeom>
          <a:ln w="190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21">
            <a:extLst>
              <a:ext uri="{FF2B5EF4-FFF2-40B4-BE49-F238E27FC236}">
                <a16:creationId xmlns:a16="http://schemas.microsoft.com/office/drawing/2014/main" id="{93E75E0C-BDBC-499B-BE2C-0EBE609F0775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>
            <a:off x="5530392" y="2550969"/>
            <a:ext cx="647965" cy="405761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0C95ED92-3233-4293-B2BE-4ED8449DDECD}"/>
              </a:ext>
            </a:extLst>
          </p:cNvPr>
          <p:cNvSpPr/>
          <p:nvPr/>
        </p:nvSpPr>
        <p:spPr>
          <a:xfrm>
            <a:off x="9523562" y="1904181"/>
            <a:ext cx="1916598" cy="2007064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38D939B-BF44-4E63-AA07-52F8ED3EBF5C}"/>
              </a:ext>
            </a:extLst>
          </p:cNvPr>
          <p:cNvSpPr/>
          <p:nvPr/>
        </p:nvSpPr>
        <p:spPr>
          <a:xfrm>
            <a:off x="9639668" y="2047690"/>
            <a:ext cx="1684387" cy="3342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Program Execution</a:t>
            </a:r>
            <a:endParaRPr lang="en-US" sz="1050" dirty="0">
              <a:solidFill>
                <a:schemeClr val="tx1"/>
              </a:solidFill>
            </a:endParaRPr>
          </a:p>
        </p:txBody>
      </p: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3E7E2935-5654-4D23-9BDD-4B3D2D2A5244}"/>
              </a:ext>
            </a:extLst>
          </p:cNvPr>
          <p:cNvCxnSpPr>
            <a:cxnSpLocks/>
          </p:cNvCxnSpPr>
          <p:nvPr/>
        </p:nvCxnSpPr>
        <p:spPr>
          <a:xfrm>
            <a:off x="9259522" y="-721820"/>
            <a:ext cx="57029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3" name="Rectangle 52">
            <a:extLst>
              <a:ext uri="{FF2B5EF4-FFF2-40B4-BE49-F238E27FC236}">
                <a16:creationId xmlns:a16="http://schemas.microsoft.com/office/drawing/2014/main" id="{E1EF575C-ACF9-4158-832A-169FAA5E804D}"/>
              </a:ext>
            </a:extLst>
          </p:cNvPr>
          <p:cNvSpPr/>
          <p:nvPr/>
        </p:nvSpPr>
        <p:spPr>
          <a:xfrm>
            <a:off x="5684966" y="1263240"/>
            <a:ext cx="1308932" cy="374792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Portfolio Backlog Management</a:t>
            </a:r>
            <a:endParaRPr lang="en-US" sz="1050" dirty="0">
              <a:solidFill>
                <a:schemeClr val="tx1"/>
              </a:solidFill>
            </a:endParaRPr>
          </a:p>
        </p:txBody>
      </p:sp>
      <p:cxnSp>
        <p:nvCxnSpPr>
          <p:cNvPr id="60" name="Connector: Elbow 21">
            <a:extLst>
              <a:ext uri="{FF2B5EF4-FFF2-40B4-BE49-F238E27FC236}">
                <a16:creationId xmlns:a16="http://schemas.microsoft.com/office/drawing/2014/main" id="{F6220563-CCE0-4636-9323-09F4DF803C29}"/>
              </a:ext>
            </a:extLst>
          </p:cNvPr>
          <p:cNvCxnSpPr>
            <a:cxnSpLocks/>
            <a:stCxn id="24" idx="3"/>
            <a:endCxn id="53" idx="3"/>
          </p:cNvCxnSpPr>
          <p:nvPr/>
        </p:nvCxnSpPr>
        <p:spPr>
          <a:xfrm flipH="1" flipV="1">
            <a:off x="6993898" y="1450636"/>
            <a:ext cx="4115987" cy="1506094"/>
          </a:xfrm>
          <a:prstGeom prst="bentConnector3">
            <a:avLst>
              <a:gd name="adj1" fmla="val -13947"/>
            </a:avLst>
          </a:prstGeom>
          <a:ln w="190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725DD356-3A62-49D6-951C-9994A0258534}"/>
              </a:ext>
            </a:extLst>
          </p:cNvPr>
          <p:cNvSpPr/>
          <p:nvPr/>
        </p:nvSpPr>
        <p:spPr>
          <a:xfrm>
            <a:off x="6575252" y="4847482"/>
            <a:ext cx="1490869" cy="3342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Program OKRs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37" name="Rectangle 20">
            <a:extLst>
              <a:ext uri="{FF2B5EF4-FFF2-40B4-BE49-F238E27FC236}">
                <a16:creationId xmlns:a16="http://schemas.microsoft.com/office/drawing/2014/main" id="{E6A4A0FB-6124-4ACE-85BC-B71C121EA23C}"/>
              </a:ext>
            </a:extLst>
          </p:cNvPr>
          <p:cNvSpPr/>
          <p:nvPr/>
        </p:nvSpPr>
        <p:spPr>
          <a:xfrm>
            <a:off x="6593015" y="5549961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Create and define objectives</a:t>
            </a:r>
          </a:p>
        </p:txBody>
      </p:sp>
      <p:sp>
        <p:nvSpPr>
          <p:cNvPr id="38" name="Rectangle 20">
            <a:extLst>
              <a:ext uri="{FF2B5EF4-FFF2-40B4-BE49-F238E27FC236}">
                <a16:creationId xmlns:a16="http://schemas.microsoft.com/office/drawing/2014/main" id="{4E5BD23C-B24A-40C2-A890-809FFAE1652B}"/>
              </a:ext>
            </a:extLst>
          </p:cNvPr>
          <p:cNvSpPr/>
          <p:nvPr/>
        </p:nvSpPr>
        <p:spPr>
          <a:xfrm>
            <a:off x="8283180" y="5549961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Define current and target metrics (key results) for objectives</a:t>
            </a:r>
          </a:p>
        </p:txBody>
      </p:sp>
      <p:sp>
        <p:nvSpPr>
          <p:cNvPr id="40" name="Rectangle 20">
            <a:extLst>
              <a:ext uri="{FF2B5EF4-FFF2-40B4-BE49-F238E27FC236}">
                <a16:creationId xmlns:a16="http://schemas.microsoft.com/office/drawing/2014/main" id="{C9C0DF52-9CAB-4CDA-AA4C-DECB7925FF00}"/>
              </a:ext>
            </a:extLst>
          </p:cNvPr>
          <p:cNvSpPr/>
          <p:nvPr/>
        </p:nvSpPr>
        <p:spPr>
          <a:xfrm>
            <a:off x="8283180" y="4678499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Monitor progress through key results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6AE9617D-5B3B-44E0-A0DC-3E7D45CC4BAC}"/>
              </a:ext>
            </a:extLst>
          </p:cNvPr>
          <p:cNvCxnSpPr>
            <a:cxnSpLocks/>
            <a:stCxn id="37" idx="3"/>
            <a:endCxn id="38" idx="1"/>
          </p:cNvCxnSpPr>
          <p:nvPr/>
        </p:nvCxnSpPr>
        <p:spPr>
          <a:xfrm>
            <a:off x="7849063" y="5886092"/>
            <a:ext cx="434117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527DBA1D-3ACB-468C-9166-66C158B5B6C7}"/>
              </a:ext>
            </a:extLst>
          </p:cNvPr>
          <p:cNvCxnSpPr>
            <a:cxnSpLocks/>
            <a:stCxn id="38" idx="0"/>
            <a:endCxn id="40" idx="2"/>
          </p:cNvCxnSpPr>
          <p:nvPr/>
        </p:nvCxnSpPr>
        <p:spPr>
          <a:xfrm flipV="1">
            <a:off x="8911204" y="5350761"/>
            <a:ext cx="0" cy="19920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68530D8F-59FC-4DC3-B7D1-47E554D16816}"/>
              </a:ext>
            </a:extLst>
          </p:cNvPr>
          <p:cNvSpPr/>
          <p:nvPr/>
        </p:nvSpPr>
        <p:spPr>
          <a:xfrm>
            <a:off x="10307115" y="4073705"/>
            <a:ext cx="1412427" cy="1527795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65DF77E-5966-4B5C-A55D-FDAFFEA54B26}"/>
              </a:ext>
            </a:extLst>
          </p:cNvPr>
          <p:cNvSpPr/>
          <p:nvPr/>
        </p:nvSpPr>
        <p:spPr>
          <a:xfrm>
            <a:off x="10468392" y="5093935"/>
            <a:ext cx="1118304" cy="41538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Cross-Program Coordination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51" name="Rectangle 13">
            <a:extLst>
              <a:ext uri="{FF2B5EF4-FFF2-40B4-BE49-F238E27FC236}">
                <a16:creationId xmlns:a16="http://schemas.microsoft.com/office/drawing/2014/main" id="{D36488CD-6D0A-4279-BB70-0A1F75D1981E}"/>
              </a:ext>
            </a:extLst>
          </p:cNvPr>
          <p:cNvSpPr/>
          <p:nvPr/>
        </p:nvSpPr>
        <p:spPr>
          <a:xfrm>
            <a:off x="10384129" y="4295405"/>
            <a:ext cx="1256048" cy="669732"/>
          </a:xfrm>
          <a:prstGeom prst="rect">
            <a:avLst/>
          </a:prstGeom>
          <a:solidFill>
            <a:srgbClr val="21213D"/>
          </a:solidFill>
          <a:ln w="12700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Deliver cross-program dependencies</a:t>
            </a:r>
            <a:endParaRPr lang="en-US" dirty="0"/>
          </a:p>
        </p:txBody>
      </p:sp>
      <p:cxnSp>
        <p:nvCxnSpPr>
          <p:cNvPr id="87" name="Connector: Elbow 86">
            <a:extLst>
              <a:ext uri="{FF2B5EF4-FFF2-40B4-BE49-F238E27FC236}">
                <a16:creationId xmlns:a16="http://schemas.microsoft.com/office/drawing/2014/main" id="{6D6E7660-3214-4AB2-8284-6E04EDCD502B}"/>
              </a:ext>
            </a:extLst>
          </p:cNvPr>
          <p:cNvCxnSpPr>
            <a:stCxn id="24" idx="2"/>
            <a:endCxn id="51" idx="0"/>
          </p:cNvCxnSpPr>
          <p:nvPr/>
        </p:nvCxnSpPr>
        <p:spPr>
          <a:xfrm rot="16200000" flipH="1">
            <a:off x="10245735" y="3528987"/>
            <a:ext cx="1002544" cy="530292"/>
          </a:xfrm>
          <a:prstGeom prst="bentConnector3">
            <a:avLst/>
          </a:prstGeom>
          <a:ln w="127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7CBB9DEB-CBC4-425E-BB1B-223A8C184789}"/>
              </a:ext>
            </a:extLst>
          </p:cNvPr>
          <p:cNvCxnSpPr>
            <a:stCxn id="9" idx="0"/>
            <a:endCxn id="5" idx="2"/>
          </p:cNvCxnSpPr>
          <p:nvPr/>
        </p:nvCxnSpPr>
        <p:spPr>
          <a:xfrm flipV="1">
            <a:off x="4902368" y="3732326"/>
            <a:ext cx="0" cy="457964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Connector: Elbow 121">
            <a:extLst>
              <a:ext uri="{FF2B5EF4-FFF2-40B4-BE49-F238E27FC236}">
                <a16:creationId xmlns:a16="http://schemas.microsoft.com/office/drawing/2014/main" id="{190B5061-3BA6-4799-B606-82D979EA5A17}"/>
              </a:ext>
            </a:extLst>
          </p:cNvPr>
          <p:cNvCxnSpPr>
            <a:cxnSpLocks/>
            <a:endCxn id="23" idx="1"/>
          </p:cNvCxnSpPr>
          <p:nvPr/>
        </p:nvCxnSpPr>
        <p:spPr>
          <a:xfrm flipV="1">
            <a:off x="5530392" y="2956730"/>
            <a:ext cx="2474307" cy="1369407"/>
          </a:xfrm>
          <a:prstGeom prst="bentConnector3">
            <a:avLst>
              <a:gd name="adj1" fmla="val 85801"/>
            </a:avLst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19328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" name="Rectangle 34">
            <a:extLst>
              <a:ext uri="{FF2B5EF4-FFF2-40B4-BE49-F238E27FC236}">
                <a16:creationId xmlns:a16="http://schemas.microsoft.com/office/drawing/2014/main" id="{DF9469DF-C4F6-4F8C-853E-103F1C091396}"/>
              </a:ext>
            </a:extLst>
          </p:cNvPr>
          <p:cNvSpPr/>
          <p:nvPr/>
        </p:nvSpPr>
        <p:spPr>
          <a:xfrm>
            <a:off x="6387940" y="4505326"/>
            <a:ext cx="3363737" cy="1891550"/>
          </a:xfrm>
          <a:prstGeom prst="rect">
            <a:avLst/>
          </a:prstGeom>
          <a:solidFill>
            <a:srgbClr val="12D6E0">
              <a:alpha val="25000"/>
            </a:srgbClr>
          </a:solidFill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9FC8B24-BB65-490F-B2DA-8C54563A3AE5}"/>
              </a:ext>
            </a:extLst>
          </p:cNvPr>
          <p:cNvSpPr/>
          <p:nvPr/>
        </p:nvSpPr>
        <p:spPr>
          <a:xfrm>
            <a:off x="650654" y="1904180"/>
            <a:ext cx="8795188" cy="1992632"/>
          </a:xfrm>
          <a:prstGeom prst="rect">
            <a:avLst/>
          </a:prstGeom>
          <a:solidFill>
            <a:srgbClr val="12D6E0">
              <a:alpha val="25000"/>
            </a:srgbClr>
          </a:solidFill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C199445-9025-4733-97CD-E7A1734D1C04}"/>
              </a:ext>
            </a:extLst>
          </p:cNvPr>
          <p:cNvSpPr/>
          <p:nvPr/>
        </p:nvSpPr>
        <p:spPr>
          <a:xfrm>
            <a:off x="3860622" y="4073705"/>
            <a:ext cx="2076565" cy="2323171"/>
          </a:xfrm>
          <a:prstGeom prst="rect">
            <a:avLst/>
          </a:prstGeom>
          <a:solidFill>
            <a:srgbClr val="12D6E0">
              <a:alpha val="25000"/>
            </a:srgbClr>
          </a:solidFill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8" name="Connector: Elbow 21">
            <a:extLst>
              <a:ext uri="{FF2B5EF4-FFF2-40B4-BE49-F238E27FC236}">
                <a16:creationId xmlns:a16="http://schemas.microsoft.com/office/drawing/2014/main" id="{A4571E5D-BFE3-48E8-9417-7779F3C86F62}"/>
              </a:ext>
            </a:extLst>
          </p:cNvPr>
          <p:cNvCxnSpPr>
            <a:cxnSpLocks/>
            <a:stCxn id="23" idx="2"/>
            <a:endCxn id="57" idx="0"/>
          </p:cNvCxnSpPr>
          <p:nvPr/>
        </p:nvCxnSpPr>
        <p:spPr>
          <a:xfrm rot="5400000">
            <a:off x="8266528" y="3651300"/>
            <a:ext cx="724635" cy="7756"/>
          </a:xfrm>
          <a:prstGeom prst="bentConnector3">
            <a:avLst>
              <a:gd name="adj1" fmla="val -17300"/>
            </a:avLst>
          </a:prstGeom>
          <a:ln w="190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nector: Elbow 80">
            <a:extLst>
              <a:ext uri="{FF2B5EF4-FFF2-40B4-BE49-F238E27FC236}">
                <a16:creationId xmlns:a16="http://schemas.microsoft.com/office/drawing/2014/main" id="{366B89FF-E2B9-4D45-85A7-514C02F72CD2}"/>
              </a:ext>
            </a:extLst>
          </p:cNvPr>
          <p:cNvCxnSpPr>
            <a:cxnSpLocks/>
            <a:endCxn id="40" idx="3"/>
          </p:cNvCxnSpPr>
          <p:nvPr/>
        </p:nvCxnSpPr>
        <p:spPr>
          <a:xfrm rot="5400000">
            <a:off x="8918570" y="3840647"/>
            <a:ext cx="1794641" cy="553324"/>
          </a:xfrm>
          <a:prstGeom prst="bentConnector2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21">
            <a:extLst>
              <a:ext uri="{FF2B5EF4-FFF2-40B4-BE49-F238E27FC236}">
                <a16:creationId xmlns:a16="http://schemas.microsoft.com/office/drawing/2014/main" id="{08982A85-D470-4646-9A82-215EC246A221}"/>
              </a:ext>
            </a:extLst>
          </p:cNvPr>
          <p:cNvCxnSpPr>
            <a:cxnSpLocks/>
            <a:stCxn id="53" idx="1"/>
            <a:endCxn id="6" idx="1"/>
          </p:cNvCxnSpPr>
          <p:nvPr/>
        </p:nvCxnSpPr>
        <p:spPr>
          <a:xfrm rot="10800000" flipV="1">
            <a:off x="896252" y="1450636"/>
            <a:ext cx="4788715" cy="1535374"/>
          </a:xfrm>
          <a:prstGeom prst="bentConnector3">
            <a:avLst>
              <a:gd name="adj1" fmla="val 110336"/>
            </a:avLst>
          </a:prstGeom>
          <a:ln w="190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17B24AB2-215A-4F09-8326-CB4A495BD6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392" y="72776"/>
            <a:ext cx="11253216" cy="699516"/>
          </a:xfrm>
        </p:spPr>
        <p:txBody>
          <a:bodyPr/>
          <a:lstStyle/>
          <a:p>
            <a:r>
              <a:rPr lang="en-GB" sz="2800" dirty="0"/>
              <a:t>Program Backlog Management &gt; Program Capacity Planning &gt; Program Delivery: Agile Program Planning </a:t>
            </a:r>
            <a:endParaRPr lang="en-US" sz="2800" dirty="0"/>
          </a:p>
        </p:txBody>
      </p:sp>
      <p:sp>
        <p:nvSpPr>
          <p:cNvPr id="4" name="Rectangle 13">
            <a:extLst>
              <a:ext uri="{FF2B5EF4-FFF2-40B4-BE49-F238E27FC236}">
                <a16:creationId xmlns:a16="http://schemas.microsoft.com/office/drawing/2014/main" id="{8F352C24-0884-457D-94DC-798CC042504C}"/>
              </a:ext>
            </a:extLst>
          </p:cNvPr>
          <p:cNvSpPr/>
          <p:nvPr/>
        </p:nvSpPr>
        <p:spPr>
          <a:xfrm>
            <a:off x="2499486" y="2649879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Describe and categorize features</a:t>
            </a:r>
          </a:p>
        </p:txBody>
      </p:sp>
      <p:sp>
        <p:nvSpPr>
          <p:cNvPr id="5" name="Rectangle 15">
            <a:extLst>
              <a:ext uri="{FF2B5EF4-FFF2-40B4-BE49-F238E27FC236}">
                <a16:creationId xmlns:a16="http://schemas.microsoft.com/office/drawing/2014/main" id="{F6F2A2A2-6407-4CF0-8B43-9611D4332E0B}"/>
              </a:ext>
            </a:extLst>
          </p:cNvPr>
          <p:cNvSpPr/>
          <p:nvPr/>
        </p:nvSpPr>
        <p:spPr>
          <a:xfrm>
            <a:off x="4274344" y="3060064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Estimate sizes</a:t>
            </a:r>
          </a:p>
        </p:txBody>
      </p:sp>
      <p:sp>
        <p:nvSpPr>
          <p:cNvPr id="6" name="Rectangle 20">
            <a:extLst>
              <a:ext uri="{FF2B5EF4-FFF2-40B4-BE49-F238E27FC236}">
                <a16:creationId xmlns:a16="http://schemas.microsoft.com/office/drawing/2014/main" id="{D73B7739-D916-4AC3-AF69-B6725B93D314}"/>
              </a:ext>
            </a:extLst>
          </p:cNvPr>
          <p:cNvSpPr/>
          <p:nvPr/>
        </p:nvSpPr>
        <p:spPr>
          <a:xfrm>
            <a:off x="896251" y="2649879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Create features</a:t>
            </a:r>
          </a:p>
        </p:txBody>
      </p:sp>
      <p:sp>
        <p:nvSpPr>
          <p:cNvPr id="7" name="Rectangle 13">
            <a:extLst>
              <a:ext uri="{FF2B5EF4-FFF2-40B4-BE49-F238E27FC236}">
                <a16:creationId xmlns:a16="http://schemas.microsoft.com/office/drawing/2014/main" id="{23AD0492-22EA-4B4E-A664-C63B3ED614DD}"/>
              </a:ext>
            </a:extLst>
          </p:cNvPr>
          <p:cNvSpPr/>
          <p:nvPr/>
        </p:nvSpPr>
        <p:spPr>
          <a:xfrm>
            <a:off x="4274344" y="2214838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Capture relevant prioritization information (e.g., WSJF)</a:t>
            </a:r>
          </a:p>
        </p:txBody>
      </p:sp>
      <p:sp>
        <p:nvSpPr>
          <p:cNvPr id="8" name="Rectangle 13">
            <a:extLst>
              <a:ext uri="{FF2B5EF4-FFF2-40B4-BE49-F238E27FC236}">
                <a16:creationId xmlns:a16="http://schemas.microsoft.com/office/drawing/2014/main" id="{ADB5A570-58D1-4696-8CE7-58BE334E6F1B}"/>
              </a:ext>
            </a:extLst>
          </p:cNvPr>
          <p:cNvSpPr/>
          <p:nvPr/>
        </p:nvSpPr>
        <p:spPr>
          <a:xfrm>
            <a:off x="6178357" y="2620599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>
                <a:solidFill>
                  <a:srgbClr val="FFFFFF"/>
                </a:solidFill>
              </a:rPr>
              <a:t>Prioritize program backlog </a:t>
            </a:r>
          </a:p>
        </p:txBody>
      </p:sp>
      <p:sp>
        <p:nvSpPr>
          <p:cNvPr id="9" name="Rectangle 13">
            <a:extLst>
              <a:ext uri="{FF2B5EF4-FFF2-40B4-BE49-F238E27FC236}">
                <a16:creationId xmlns:a16="http://schemas.microsoft.com/office/drawing/2014/main" id="{50E70691-3647-49B0-B03E-A500D81BB1CE}"/>
              </a:ext>
            </a:extLst>
          </p:cNvPr>
          <p:cNvSpPr/>
          <p:nvPr/>
        </p:nvSpPr>
        <p:spPr>
          <a:xfrm>
            <a:off x="4274344" y="4190290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Carry out visual capacity planning </a:t>
            </a:r>
          </a:p>
        </p:txBody>
      </p:sp>
      <p:sp>
        <p:nvSpPr>
          <p:cNvPr id="10" name="Rectangle 13">
            <a:extLst>
              <a:ext uri="{FF2B5EF4-FFF2-40B4-BE49-F238E27FC236}">
                <a16:creationId xmlns:a16="http://schemas.microsoft.com/office/drawing/2014/main" id="{600D2B13-5160-4745-878E-71ED98B012DD}"/>
              </a:ext>
            </a:extLst>
          </p:cNvPr>
          <p:cNvSpPr/>
          <p:nvPr/>
        </p:nvSpPr>
        <p:spPr>
          <a:xfrm>
            <a:off x="4274344" y="5073615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Set Team of Teams capacity using WIP limits</a:t>
            </a:r>
          </a:p>
        </p:txBody>
      </p:sp>
      <p:cxnSp>
        <p:nvCxnSpPr>
          <p:cNvPr id="11" name="Connector: Elbow 21">
            <a:extLst>
              <a:ext uri="{FF2B5EF4-FFF2-40B4-BE49-F238E27FC236}">
                <a16:creationId xmlns:a16="http://schemas.microsoft.com/office/drawing/2014/main" id="{8E627183-8DEF-4611-B797-B868FE231CCF}"/>
              </a:ext>
            </a:extLst>
          </p:cNvPr>
          <p:cNvCxnSpPr>
            <a:cxnSpLocks/>
            <a:stCxn id="4" idx="3"/>
            <a:endCxn id="7" idx="1"/>
          </p:cNvCxnSpPr>
          <p:nvPr/>
        </p:nvCxnSpPr>
        <p:spPr>
          <a:xfrm flipV="1">
            <a:off x="3755534" y="2550969"/>
            <a:ext cx="518810" cy="435041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or: Elbow 21">
            <a:extLst>
              <a:ext uri="{FF2B5EF4-FFF2-40B4-BE49-F238E27FC236}">
                <a16:creationId xmlns:a16="http://schemas.microsoft.com/office/drawing/2014/main" id="{BDC6E52F-2162-433D-B058-0861D77C4716}"/>
              </a:ext>
            </a:extLst>
          </p:cNvPr>
          <p:cNvCxnSpPr>
            <a:cxnSpLocks/>
            <a:stCxn id="4" idx="3"/>
            <a:endCxn id="5" idx="1"/>
          </p:cNvCxnSpPr>
          <p:nvPr/>
        </p:nvCxnSpPr>
        <p:spPr>
          <a:xfrm>
            <a:off x="3755534" y="2986010"/>
            <a:ext cx="518810" cy="410185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13">
            <a:extLst>
              <a:ext uri="{FF2B5EF4-FFF2-40B4-BE49-F238E27FC236}">
                <a16:creationId xmlns:a16="http://schemas.microsoft.com/office/drawing/2014/main" id="{7FA82EE5-BC1F-40C1-A76F-AE2467641255}"/>
              </a:ext>
            </a:extLst>
          </p:cNvPr>
          <p:cNvSpPr/>
          <p:nvPr/>
        </p:nvSpPr>
        <p:spPr>
          <a:xfrm>
            <a:off x="8004699" y="2620599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>
                <a:solidFill>
                  <a:srgbClr val="FFFFFF"/>
                </a:solidFill>
              </a:rPr>
              <a:t>Sequence features into appropriate timebox (e.g., iteration) </a:t>
            </a:r>
          </a:p>
        </p:txBody>
      </p:sp>
      <p:sp>
        <p:nvSpPr>
          <p:cNvPr id="24" name="Rectangle 13">
            <a:extLst>
              <a:ext uri="{FF2B5EF4-FFF2-40B4-BE49-F238E27FC236}">
                <a16:creationId xmlns:a16="http://schemas.microsoft.com/office/drawing/2014/main" id="{7F6915A2-51FD-4FCF-ADB5-42AAA39E42F2}"/>
              </a:ext>
            </a:extLst>
          </p:cNvPr>
          <p:cNvSpPr/>
          <p:nvPr/>
        </p:nvSpPr>
        <p:spPr>
          <a:xfrm>
            <a:off x="9853837" y="2620599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Deliver features through underlying stories 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6BD96783-A8FF-427F-BCA0-EA5686163884}"/>
              </a:ext>
            </a:extLst>
          </p:cNvPr>
          <p:cNvCxnSpPr>
            <a:cxnSpLocks/>
            <a:stCxn id="6" idx="3"/>
            <a:endCxn id="4" idx="1"/>
          </p:cNvCxnSpPr>
          <p:nvPr/>
        </p:nvCxnSpPr>
        <p:spPr>
          <a:xfrm>
            <a:off x="2152299" y="2986010"/>
            <a:ext cx="347187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AD486585-6C4E-4AB9-9CA9-168FA6338268}"/>
              </a:ext>
            </a:extLst>
          </p:cNvPr>
          <p:cNvCxnSpPr>
            <a:cxnSpLocks/>
            <a:stCxn id="10" idx="0"/>
            <a:endCxn id="9" idx="2"/>
          </p:cNvCxnSpPr>
          <p:nvPr/>
        </p:nvCxnSpPr>
        <p:spPr>
          <a:xfrm flipV="1">
            <a:off x="4902368" y="4862552"/>
            <a:ext cx="0" cy="21106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A10A59FD-2744-4030-A4D8-FB6C8A8EAEF8}"/>
              </a:ext>
            </a:extLst>
          </p:cNvPr>
          <p:cNvCxnSpPr>
            <a:cxnSpLocks/>
            <a:stCxn id="8" idx="3"/>
            <a:endCxn id="23" idx="1"/>
          </p:cNvCxnSpPr>
          <p:nvPr/>
        </p:nvCxnSpPr>
        <p:spPr>
          <a:xfrm>
            <a:off x="7434405" y="2956730"/>
            <a:ext cx="570294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DDB14979-563B-4540-A061-071459E2A6A8}"/>
              </a:ext>
            </a:extLst>
          </p:cNvPr>
          <p:cNvCxnSpPr>
            <a:cxnSpLocks/>
            <a:stCxn id="23" idx="3"/>
            <a:endCxn id="24" idx="1"/>
          </p:cNvCxnSpPr>
          <p:nvPr/>
        </p:nvCxnSpPr>
        <p:spPr>
          <a:xfrm>
            <a:off x="9260747" y="2956730"/>
            <a:ext cx="59309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3A28EEF9-3E62-4B56-93FA-060709A2374B}"/>
              </a:ext>
            </a:extLst>
          </p:cNvPr>
          <p:cNvSpPr/>
          <p:nvPr/>
        </p:nvSpPr>
        <p:spPr>
          <a:xfrm>
            <a:off x="4000494" y="5887928"/>
            <a:ext cx="1796821" cy="3342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Program Capacity Planning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4B24D132-BC08-49B7-9717-040031181592}"/>
              </a:ext>
            </a:extLst>
          </p:cNvPr>
          <p:cNvSpPr/>
          <p:nvPr/>
        </p:nvSpPr>
        <p:spPr>
          <a:xfrm>
            <a:off x="896251" y="2047690"/>
            <a:ext cx="2066016" cy="3342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Program Backlog Management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19C7E59-0B3E-4457-8721-2CFDA7E303AE}"/>
              </a:ext>
            </a:extLst>
          </p:cNvPr>
          <p:cNvSpPr/>
          <p:nvPr/>
        </p:nvSpPr>
        <p:spPr>
          <a:xfrm>
            <a:off x="7970501" y="4017496"/>
            <a:ext cx="1308932" cy="41808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Team Backlog Management</a:t>
            </a:r>
            <a:endParaRPr lang="en-US" sz="1050" dirty="0">
              <a:solidFill>
                <a:schemeClr val="tx1"/>
              </a:solidFill>
            </a:endParaRPr>
          </a:p>
        </p:txBody>
      </p:sp>
      <p:cxnSp>
        <p:nvCxnSpPr>
          <p:cNvPr id="61" name="Connector: Elbow 21">
            <a:extLst>
              <a:ext uri="{FF2B5EF4-FFF2-40B4-BE49-F238E27FC236}">
                <a16:creationId xmlns:a16="http://schemas.microsoft.com/office/drawing/2014/main" id="{AEBF24BB-2042-4BCF-AE3B-7EA1F96B8305}"/>
              </a:ext>
            </a:extLst>
          </p:cNvPr>
          <p:cNvCxnSpPr>
            <a:cxnSpLocks/>
            <a:stCxn id="57" idx="3"/>
          </p:cNvCxnSpPr>
          <p:nvPr/>
        </p:nvCxnSpPr>
        <p:spPr>
          <a:xfrm flipV="1">
            <a:off x="9279433" y="3309792"/>
            <a:ext cx="659799" cy="916748"/>
          </a:xfrm>
          <a:prstGeom prst="bentConnector2">
            <a:avLst/>
          </a:prstGeom>
          <a:ln w="190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21">
            <a:extLst>
              <a:ext uri="{FF2B5EF4-FFF2-40B4-BE49-F238E27FC236}">
                <a16:creationId xmlns:a16="http://schemas.microsoft.com/office/drawing/2014/main" id="{93E75E0C-BDBC-499B-BE2C-0EBE609F0775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>
            <a:off x="5530392" y="2550969"/>
            <a:ext cx="647965" cy="405761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Rectangle 45">
            <a:extLst>
              <a:ext uri="{FF2B5EF4-FFF2-40B4-BE49-F238E27FC236}">
                <a16:creationId xmlns:a16="http://schemas.microsoft.com/office/drawing/2014/main" id="{0C95ED92-3233-4293-B2BE-4ED8449DDECD}"/>
              </a:ext>
            </a:extLst>
          </p:cNvPr>
          <p:cNvSpPr/>
          <p:nvPr/>
        </p:nvSpPr>
        <p:spPr>
          <a:xfrm>
            <a:off x="9523562" y="1904181"/>
            <a:ext cx="1916598" cy="2007064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38D939B-BF44-4E63-AA07-52F8ED3EBF5C}"/>
              </a:ext>
            </a:extLst>
          </p:cNvPr>
          <p:cNvSpPr/>
          <p:nvPr/>
        </p:nvSpPr>
        <p:spPr>
          <a:xfrm>
            <a:off x="9639668" y="2047690"/>
            <a:ext cx="1684387" cy="3342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Program Execution</a:t>
            </a:r>
            <a:endParaRPr lang="en-US" sz="1050" dirty="0">
              <a:solidFill>
                <a:schemeClr val="tx1"/>
              </a:solidFill>
            </a:endParaRPr>
          </a:p>
        </p:txBody>
      </p: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3E7E2935-5654-4D23-9BDD-4B3D2D2A5244}"/>
              </a:ext>
            </a:extLst>
          </p:cNvPr>
          <p:cNvCxnSpPr>
            <a:cxnSpLocks/>
          </p:cNvCxnSpPr>
          <p:nvPr/>
        </p:nvCxnSpPr>
        <p:spPr>
          <a:xfrm>
            <a:off x="9259522" y="-721820"/>
            <a:ext cx="57029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3" name="Rectangle 52">
            <a:extLst>
              <a:ext uri="{FF2B5EF4-FFF2-40B4-BE49-F238E27FC236}">
                <a16:creationId xmlns:a16="http://schemas.microsoft.com/office/drawing/2014/main" id="{E1EF575C-ACF9-4158-832A-169FAA5E804D}"/>
              </a:ext>
            </a:extLst>
          </p:cNvPr>
          <p:cNvSpPr/>
          <p:nvPr/>
        </p:nvSpPr>
        <p:spPr>
          <a:xfrm>
            <a:off x="5684966" y="1263240"/>
            <a:ext cx="1308932" cy="374792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Portfolio Backlog Management</a:t>
            </a:r>
            <a:endParaRPr lang="en-US" sz="1050" dirty="0">
              <a:solidFill>
                <a:schemeClr val="tx1"/>
              </a:solidFill>
            </a:endParaRPr>
          </a:p>
        </p:txBody>
      </p:sp>
      <p:cxnSp>
        <p:nvCxnSpPr>
          <p:cNvPr id="60" name="Connector: Elbow 21">
            <a:extLst>
              <a:ext uri="{FF2B5EF4-FFF2-40B4-BE49-F238E27FC236}">
                <a16:creationId xmlns:a16="http://schemas.microsoft.com/office/drawing/2014/main" id="{F6220563-CCE0-4636-9323-09F4DF803C29}"/>
              </a:ext>
            </a:extLst>
          </p:cNvPr>
          <p:cNvCxnSpPr>
            <a:cxnSpLocks/>
            <a:stCxn id="24" idx="3"/>
            <a:endCxn id="53" idx="3"/>
          </p:cNvCxnSpPr>
          <p:nvPr/>
        </p:nvCxnSpPr>
        <p:spPr>
          <a:xfrm flipH="1" flipV="1">
            <a:off x="6993898" y="1450636"/>
            <a:ext cx="4115987" cy="1506094"/>
          </a:xfrm>
          <a:prstGeom prst="bentConnector3">
            <a:avLst>
              <a:gd name="adj1" fmla="val -13947"/>
            </a:avLst>
          </a:prstGeom>
          <a:ln w="190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725DD356-3A62-49D6-951C-9994A0258534}"/>
              </a:ext>
            </a:extLst>
          </p:cNvPr>
          <p:cNvSpPr/>
          <p:nvPr/>
        </p:nvSpPr>
        <p:spPr>
          <a:xfrm>
            <a:off x="6575252" y="4847482"/>
            <a:ext cx="1490869" cy="3342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Program OKRs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37" name="Rectangle 20">
            <a:extLst>
              <a:ext uri="{FF2B5EF4-FFF2-40B4-BE49-F238E27FC236}">
                <a16:creationId xmlns:a16="http://schemas.microsoft.com/office/drawing/2014/main" id="{E6A4A0FB-6124-4ACE-85BC-B71C121EA23C}"/>
              </a:ext>
            </a:extLst>
          </p:cNvPr>
          <p:cNvSpPr/>
          <p:nvPr/>
        </p:nvSpPr>
        <p:spPr>
          <a:xfrm>
            <a:off x="6593015" y="5549961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Create and define objectives</a:t>
            </a:r>
          </a:p>
        </p:txBody>
      </p:sp>
      <p:sp>
        <p:nvSpPr>
          <p:cNvPr id="38" name="Rectangle 20">
            <a:extLst>
              <a:ext uri="{FF2B5EF4-FFF2-40B4-BE49-F238E27FC236}">
                <a16:creationId xmlns:a16="http://schemas.microsoft.com/office/drawing/2014/main" id="{4E5BD23C-B24A-40C2-A890-809FFAE1652B}"/>
              </a:ext>
            </a:extLst>
          </p:cNvPr>
          <p:cNvSpPr/>
          <p:nvPr/>
        </p:nvSpPr>
        <p:spPr>
          <a:xfrm>
            <a:off x="8283180" y="5549961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Define current and target metrics (key results) for objectives</a:t>
            </a:r>
          </a:p>
        </p:txBody>
      </p:sp>
      <p:sp>
        <p:nvSpPr>
          <p:cNvPr id="40" name="Rectangle 20">
            <a:extLst>
              <a:ext uri="{FF2B5EF4-FFF2-40B4-BE49-F238E27FC236}">
                <a16:creationId xmlns:a16="http://schemas.microsoft.com/office/drawing/2014/main" id="{C9C0DF52-9CAB-4CDA-AA4C-DECB7925FF00}"/>
              </a:ext>
            </a:extLst>
          </p:cNvPr>
          <p:cNvSpPr/>
          <p:nvPr/>
        </p:nvSpPr>
        <p:spPr>
          <a:xfrm>
            <a:off x="8283180" y="4678499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Monitor progress through key results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6AE9617D-5B3B-44E0-A0DC-3E7D45CC4BAC}"/>
              </a:ext>
            </a:extLst>
          </p:cNvPr>
          <p:cNvCxnSpPr>
            <a:cxnSpLocks/>
            <a:stCxn id="37" idx="3"/>
            <a:endCxn id="38" idx="1"/>
          </p:cNvCxnSpPr>
          <p:nvPr/>
        </p:nvCxnSpPr>
        <p:spPr>
          <a:xfrm>
            <a:off x="7849063" y="5886092"/>
            <a:ext cx="434117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527DBA1D-3ACB-468C-9166-66C158B5B6C7}"/>
              </a:ext>
            </a:extLst>
          </p:cNvPr>
          <p:cNvCxnSpPr>
            <a:cxnSpLocks/>
            <a:stCxn id="38" idx="0"/>
            <a:endCxn id="40" idx="2"/>
          </p:cNvCxnSpPr>
          <p:nvPr/>
        </p:nvCxnSpPr>
        <p:spPr>
          <a:xfrm flipV="1">
            <a:off x="8911204" y="5350761"/>
            <a:ext cx="0" cy="19920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68530D8F-59FC-4DC3-B7D1-47E554D16816}"/>
              </a:ext>
            </a:extLst>
          </p:cNvPr>
          <p:cNvSpPr/>
          <p:nvPr/>
        </p:nvSpPr>
        <p:spPr>
          <a:xfrm>
            <a:off x="10307115" y="4073705"/>
            <a:ext cx="1412427" cy="1527795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65DF77E-5966-4B5C-A55D-FDAFFEA54B26}"/>
              </a:ext>
            </a:extLst>
          </p:cNvPr>
          <p:cNvSpPr/>
          <p:nvPr/>
        </p:nvSpPr>
        <p:spPr>
          <a:xfrm>
            <a:off x="10468392" y="5093935"/>
            <a:ext cx="1118304" cy="41538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Cross-Program Coordination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51" name="Rectangle 13">
            <a:extLst>
              <a:ext uri="{FF2B5EF4-FFF2-40B4-BE49-F238E27FC236}">
                <a16:creationId xmlns:a16="http://schemas.microsoft.com/office/drawing/2014/main" id="{D36488CD-6D0A-4279-BB70-0A1F75D1981E}"/>
              </a:ext>
            </a:extLst>
          </p:cNvPr>
          <p:cNvSpPr/>
          <p:nvPr/>
        </p:nvSpPr>
        <p:spPr>
          <a:xfrm>
            <a:off x="10384129" y="4295405"/>
            <a:ext cx="1256048" cy="669732"/>
          </a:xfrm>
          <a:prstGeom prst="rect">
            <a:avLst/>
          </a:prstGeom>
          <a:solidFill>
            <a:srgbClr val="21213D"/>
          </a:solidFill>
          <a:ln w="12700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Deliver cross-program dependencies</a:t>
            </a:r>
            <a:endParaRPr lang="en-US" dirty="0"/>
          </a:p>
        </p:txBody>
      </p:sp>
      <p:cxnSp>
        <p:nvCxnSpPr>
          <p:cNvPr id="87" name="Connector: Elbow 86">
            <a:extLst>
              <a:ext uri="{FF2B5EF4-FFF2-40B4-BE49-F238E27FC236}">
                <a16:creationId xmlns:a16="http://schemas.microsoft.com/office/drawing/2014/main" id="{6D6E7660-3214-4AB2-8284-6E04EDCD502B}"/>
              </a:ext>
            </a:extLst>
          </p:cNvPr>
          <p:cNvCxnSpPr>
            <a:stCxn id="24" idx="2"/>
            <a:endCxn id="51" idx="0"/>
          </p:cNvCxnSpPr>
          <p:nvPr/>
        </p:nvCxnSpPr>
        <p:spPr>
          <a:xfrm rot="16200000" flipH="1">
            <a:off x="10245735" y="3528987"/>
            <a:ext cx="1002544" cy="530292"/>
          </a:xfrm>
          <a:prstGeom prst="bentConnector3">
            <a:avLst/>
          </a:prstGeom>
          <a:ln w="127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7CBB9DEB-CBC4-425E-BB1B-223A8C184789}"/>
              </a:ext>
            </a:extLst>
          </p:cNvPr>
          <p:cNvCxnSpPr>
            <a:stCxn id="9" idx="0"/>
            <a:endCxn id="5" idx="2"/>
          </p:cNvCxnSpPr>
          <p:nvPr/>
        </p:nvCxnSpPr>
        <p:spPr>
          <a:xfrm flipV="1">
            <a:off x="4902368" y="3732326"/>
            <a:ext cx="0" cy="457964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Connector: Elbow 121">
            <a:extLst>
              <a:ext uri="{FF2B5EF4-FFF2-40B4-BE49-F238E27FC236}">
                <a16:creationId xmlns:a16="http://schemas.microsoft.com/office/drawing/2014/main" id="{190B5061-3BA6-4799-B606-82D979EA5A17}"/>
              </a:ext>
            </a:extLst>
          </p:cNvPr>
          <p:cNvCxnSpPr>
            <a:cxnSpLocks/>
            <a:endCxn id="23" idx="1"/>
          </p:cNvCxnSpPr>
          <p:nvPr/>
        </p:nvCxnSpPr>
        <p:spPr>
          <a:xfrm flipV="1">
            <a:off x="5530392" y="2956730"/>
            <a:ext cx="2474307" cy="1369407"/>
          </a:xfrm>
          <a:prstGeom prst="bentConnector3">
            <a:avLst>
              <a:gd name="adj1" fmla="val 85801"/>
            </a:avLst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9467682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>
            <a:extLst>
              <a:ext uri="{FF2B5EF4-FFF2-40B4-BE49-F238E27FC236}">
                <a16:creationId xmlns:a16="http://schemas.microsoft.com/office/drawing/2014/main" id="{0C95ED92-3233-4293-B2BE-4ED8449DDECD}"/>
              </a:ext>
            </a:extLst>
          </p:cNvPr>
          <p:cNvSpPr/>
          <p:nvPr/>
        </p:nvSpPr>
        <p:spPr>
          <a:xfrm>
            <a:off x="9523562" y="1904181"/>
            <a:ext cx="1916598" cy="2007064"/>
          </a:xfrm>
          <a:prstGeom prst="rect">
            <a:avLst/>
          </a:prstGeom>
          <a:solidFill>
            <a:srgbClr val="12D6E0">
              <a:alpha val="25000"/>
            </a:srgbClr>
          </a:solidFill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8530D8F-59FC-4DC3-B7D1-47E554D16816}"/>
              </a:ext>
            </a:extLst>
          </p:cNvPr>
          <p:cNvSpPr/>
          <p:nvPr/>
        </p:nvSpPr>
        <p:spPr>
          <a:xfrm>
            <a:off x="10307115" y="4073705"/>
            <a:ext cx="1412427" cy="1527795"/>
          </a:xfrm>
          <a:prstGeom prst="rect">
            <a:avLst/>
          </a:prstGeom>
          <a:solidFill>
            <a:srgbClr val="12D6E0">
              <a:alpha val="25000"/>
            </a:srgbClr>
          </a:solidFill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DF9469DF-C4F6-4F8C-853E-103F1C091396}"/>
              </a:ext>
            </a:extLst>
          </p:cNvPr>
          <p:cNvSpPr/>
          <p:nvPr/>
        </p:nvSpPr>
        <p:spPr>
          <a:xfrm>
            <a:off x="6387940" y="4505326"/>
            <a:ext cx="3363737" cy="1891550"/>
          </a:xfrm>
          <a:prstGeom prst="rect">
            <a:avLst/>
          </a:prstGeom>
          <a:solidFill>
            <a:schemeClr val="bg1">
              <a:alpha val="25000"/>
            </a:schemeClr>
          </a:solidFill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99FC8B24-BB65-490F-B2DA-8C54563A3AE5}"/>
              </a:ext>
            </a:extLst>
          </p:cNvPr>
          <p:cNvSpPr/>
          <p:nvPr/>
        </p:nvSpPr>
        <p:spPr>
          <a:xfrm>
            <a:off x="650654" y="1904180"/>
            <a:ext cx="8795188" cy="1992632"/>
          </a:xfrm>
          <a:prstGeom prst="rect">
            <a:avLst/>
          </a:prstGeom>
          <a:solidFill>
            <a:schemeClr val="bg1">
              <a:alpha val="25000"/>
            </a:schemeClr>
          </a:solidFill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DC199445-9025-4733-97CD-E7A1734D1C04}"/>
              </a:ext>
            </a:extLst>
          </p:cNvPr>
          <p:cNvSpPr/>
          <p:nvPr/>
        </p:nvSpPr>
        <p:spPr>
          <a:xfrm>
            <a:off x="3860622" y="4073705"/>
            <a:ext cx="2076565" cy="2323171"/>
          </a:xfrm>
          <a:prstGeom prst="rect">
            <a:avLst/>
          </a:prstGeom>
          <a:solidFill>
            <a:schemeClr val="bg1">
              <a:alpha val="25000"/>
            </a:schemeClr>
          </a:solidFill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58" name="Connector: Elbow 21">
            <a:extLst>
              <a:ext uri="{FF2B5EF4-FFF2-40B4-BE49-F238E27FC236}">
                <a16:creationId xmlns:a16="http://schemas.microsoft.com/office/drawing/2014/main" id="{A4571E5D-BFE3-48E8-9417-7779F3C86F62}"/>
              </a:ext>
            </a:extLst>
          </p:cNvPr>
          <p:cNvCxnSpPr>
            <a:cxnSpLocks/>
            <a:stCxn id="23" idx="2"/>
            <a:endCxn id="57" idx="0"/>
          </p:cNvCxnSpPr>
          <p:nvPr/>
        </p:nvCxnSpPr>
        <p:spPr>
          <a:xfrm rot="5400000">
            <a:off x="8266528" y="3651300"/>
            <a:ext cx="724635" cy="7756"/>
          </a:xfrm>
          <a:prstGeom prst="bentConnector3">
            <a:avLst>
              <a:gd name="adj1" fmla="val -17300"/>
            </a:avLst>
          </a:prstGeom>
          <a:ln w="190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Connector: Elbow 80">
            <a:extLst>
              <a:ext uri="{FF2B5EF4-FFF2-40B4-BE49-F238E27FC236}">
                <a16:creationId xmlns:a16="http://schemas.microsoft.com/office/drawing/2014/main" id="{366B89FF-E2B9-4D45-85A7-514C02F72CD2}"/>
              </a:ext>
            </a:extLst>
          </p:cNvPr>
          <p:cNvCxnSpPr>
            <a:cxnSpLocks/>
            <a:endCxn id="40" idx="3"/>
          </p:cNvCxnSpPr>
          <p:nvPr/>
        </p:nvCxnSpPr>
        <p:spPr>
          <a:xfrm rot="5400000">
            <a:off x="8918570" y="3840647"/>
            <a:ext cx="1794641" cy="553324"/>
          </a:xfrm>
          <a:prstGeom prst="bentConnector2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21">
            <a:extLst>
              <a:ext uri="{FF2B5EF4-FFF2-40B4-BE49-F238E27FC236}">
                <a16:creationId xmlns:a16="http://schemas.microsoft.com/office/drawing/2014/main" id="{08982A85-D470-4646-9A82-215EC246A221}"/>
              </a:ext>
            </a:extLst>
          </p:cNvPr>
          <p:cNvCxnSpPr>
            <a:cxnSpLocks/>
            <a:stCxn id="53" idx="1"/>
            <a:endCxn id="6" idx="1"/>
          </p:cNvCxnSpPr>
          <p:nvPr/>
        </p:nvCxnSpPr>
        <p:spPr>
          <a:xfrm rot="10800000" flipV="1">
            <a:off x="896252" y="1450636"/>
            <a:ext cx="4788715" cy="1535374"/>
          </a:xfrm>
          <a:prstGeom prst="bentConnector3">
            <a:avLst>
              <a:gd name="adj1" fmla="val 110336"/>
            </a:avLst>
          </a:prstGeom>
          <a:ln w="190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17B24AB2-215A-4F09-8326-CB4A495BD6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392" y="72776"/>
            <a:ext cx="11253216" cy="699516"/>
          </a:xfrm>
        </p:spPr>
        <p:txBody>
          <a:bodyPr/>
          <a:lstStyle/>
          <a:p>
            <a:r>
              <a:rPr lang="en-GB" sz="2800" dirty="0"/>
              <a:t>Program Backlog Management &gt; Program Capacity Planning &gt; Program Delivery: Agile Program Delivery</a:t>
            </a:r>
            <a:endParaRPr lang="en-US" sz="2800" dirty="0"/>
          </a:p>
        </p:txBody>
      </p:sp>
      <p:sp>
        <p:nvSpPr>
          <p:cNvPr id="4" name="Rectangle 13">
            <a:extLst>
              <a:ext uri="{FF2B5EF4-FFF2-40B4-BE49-F238E27FC236}">
                <a16:creationId xmlns:a16="http://schemas.microsoft.com/office/drawing/2014/main" id="{8F352C24-0884-457D-94DC-798CC042504C}"/>
              </a:ext>
            </a:extLst>
          </p:cNvPr>
          <p:cNvSpPr/>
          <p:nvPr/>
        </p:nvSpPr>
        <p:spPr>
          <a:xfrm>
            <a:off x="2499486" y="2649879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Describe and categorize features</a:t>
            </a:r>
          </a:p>
        </p:txBody>
      </p:sp>
      <p:sp>
        <p:nvSpPr>
          <p:cNvPr id="5" name="Rectangle 15">
            <a:extLst>
              <a:ext uri="{FF2B5EF4-FFF2-40B4-BE49-F238E27FC236}">
                <a16:creationId xmlns:a16="http://schemas.microsoft.com/office/drawing/2014/main" id="{F6F2A2A2-6407-4CF0-8B43-9611D4332E0B}"/>
              </a:ext>
            </a:extLst>
          </p:cNvPr>
          <p:cNvSpPr/>
          <p:nvPr/>
        </p:nvSpPr>
        <p:spPr>
          <a:xfrm>
            <a:off x="4274344" y="3060064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Estimate sizes</a:t>
            </a:r>
          </a:p>
        </p:txBody>
      </p:sp>
      <p:sp>
        <p:nvSpPr>
          <p:cNvPr id="6" name="Rectangle 20">
            <a:extLst>
              <a:ext uri="{FF2B5EF4-FFF2-40B4-BE49-F238E27FC236}">
                <a16:creationId xmlns:a16="http://schemas.microsoft.com/office/drawing/2014/main" id="{D73B7739-D916-4AC3-AF69-B6725B93D314}"/>
              </a:ext>
            </a:extLst>
          </p:cNvPr>
          <p:cNvSpPr/>
          <p:nvPr/>
        </p:nvSpPr>
        <p:spPr>
          <a:xfrm>
            <a:off x="896251" y="2649879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Create features</a:t>
            </a:r>
          </a:p>
        </p:txBody>
      </p:sp>
      <p:sp>
        <p:nvSpPr>
          <p:cNvPr id="7" name="Rectangle 13">
            <a:extLst>
              <a:ext uri="{FF2B5EF4-FFF2-40B4-BE49-F238E27FC236}">
                <a16:creationId xmlns:a16="http://schemas.microsoft.com/office/drawing/2014/main" id="{23AD0492-22EA-4B4E-A664-C63B3ED614DD}"/>
              </a:ext>
            </a:extLst>
          </p:cNvPr>
          <p:cNvSpPr/>
          <p:nvPr/>
        </p:nvSpPr>
        <p:spPr>
          <a:xfrm>
            <a:off x="4274344" y="2214838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Capture relevant prioritization information (e.g., WSJF)</a:t>
            </a:r>
          </a:p>
        </p:txBody>
      </p:sp>
      <p:sp>
        <p:nvSpPr>
          <p:cNvPr id="8" name="Rectangle 13">
            <a:extLst>
              <a:ext uri="{FF2B5EF4-FFF2-40B4-BE49-F238E27FC236}">
                <a16:creationId xmlns:a16="http://schemas.microsoft.com/office/drawing/2014/main" id="{ADB5A570-58D1-4696-8CE7-58BE334E6F1B}"/>
              </a:ext>
            </a:extLst>
          </p:cNvPr>
          <p:cNvSpPr/>
          <p:nvPr/>
        </p:nvSpPr>
        <p:spPr>
          <a:xfrm>
            <a:off x="6178357" y="2620599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>
                <a:solidFill>
                  <a:srgbClr val="FFFFFF"/>
                </a:solidFill>
              </a:rPr>
              <a:t>Prioritize program backlog </a:t>
            </a:r>
          </a:p>
        </p:txBody>
      </p:sp>
      <p:sp>
        <p:nvSpPr>
          <p:cNvPr id="9" name="Rectangle 13">
            <a:extLst>
              <a:ext uri="{FF2B5EF4-FFF2-40B4-BE49-F238E27FC236}">
                <a16:creationId xmlns:a16="http://schemas.microsoft.com/office/drawing/2014/main" id="{50E70691-3647-49B0-B03E-A500D81BB1CE}"/>
              </a:ext>
            </a:extLst>
          </p:cNvPr>
          <p:cNvSpPr/>
          <p:nvPr/>
        </p:nvSpPr>
        <p:spPr>
          <a:xfrm>
            <a:off x="4274344" y="4190290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Carry out visual capacity planning </a:t>
            </a:r>
          </a:p>
        </p:txBody>
      </p:sp>
      <p:sp>
        <p:nvSpPr>
          <p:cNvPr id="10" name="Rectangle 13">
            <a:extLst>
              <a:ext uri="{FF2B5EF4-FFF2-40B4-BE49-F238E27FC236}">
                <a16:creationId xmlns:a16="http://schemas.microsoft.com/office/drawing/2014/main" id="{600D2B13-5160-4745-878E-71ED98B012DD}"/>
              </a:ext>
            </a:extLst>
          </p:cNvPr>
          <p:cNvSpPr/>
          <p:nvPr/>
        </p:nvSpPr>
        <p:spPr>
          <a:xfrm>
            <a:off x="4274344" y="5073615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Set Team of Teams capacity using WIP limits</a:t>
            </a:r>
          </a:p>
        </p:txBody>
      </p:sp>
      <p:cxnSp>
        <p:nvCxnSpPr>
          <p:cNvPr id="11" name="Connector: Elbow 21">
            <a:extLst>
              <a:ext uri="{FF2B5EF4-FFF2-40B4-BE49-F238E27FC236}">
                <a16:creationId xmlns:a16="http://schemas.microsoft.com/office/drawing/2014/main" id="{8E627183-8DEF-4611-B797-B868FE231CCF}"/>
              </a:ext>
            </a:extLst>
          </p:cNvPr>
          <p:cNvCxnSpPr>
            <a:cxnSpLocks/>
            <a:stCxn id="4" idx="3"/>
            <a:endCxn id="7" idx="1"/>
          </p:cNvCxnSpPr>
          <p:nvPr/>
        </p:nvCxnSpPr>
        <p:spPr>
          <a:xfrm flipV="1">
            <a:off x="3755534" y="2550969"/>
            <a:ext cx="518810" cy="435041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ctor: Elbow 21">
            <a:extLst>
              <a:ext uri="{FF2B5EF4-FFF2-40B4-BE49-F238E27FC236}">
                <a16:creationId xmlns:a16="http://schemas.microsoft.com/office/drawing/2014/main" id="{BDC6E52F-2162-433D-B058-0861D77C4716}"/>
              </a:ext>
            </a:extLst>
          </p:cNvPr>
          <p:cNvCxnSpPr>
            <a:cxnSpLocks/>
            <a:stCxn id="4" idx="3"/>
            <a:endCxn id="5" idx="1"/>
          </p:cNvCxnSpPr>
          <p:nvPr/>
        </p:nvCxnSpPr>
        <p:spPr>
          <a:xfrm>
            <a:off x="3755534" y="2986010"/>
            <a:ext cx="518810" cy="410185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Rectangle 13">
            <a:extLst>
              <a:ext uri="{FF2B5EF4-FFF2-40B4-BE49-F238E27FC236}">
                <a16:creationId xmlns:a16="http://schemas.microsoft.com/office/drawing/2014/main" id="{7FA82EE5-BC1F-40C1-A76F-AE2467641255}"/>
              </a:ext>
            </a:extLst>
          </p:cNvPr>
          <p:cNvSpPr/>
          <p:nvPr/>
        </p:nvSpPr>
        <p:spPr>
          <a:xfrm>
            <a:off x="8004699" y="2620599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>
                <a:solidFill>
                  <a:srgbClr val="FFFFFF"/>
                </a:solidFill>
              </a:rPr>
              <a:t>Sequence features into appropriate timebox (e.g., iteration) </a:t>
            </a:r>
          </a:p>
        </p:txBody>
      </p:sp>
      <p:sp>
        <p:nvSpPr>
          <p:cNvPr id="24" name="Rectangle 13">
            <a:extLst>
              <a:ext uri="{FF2B5EF4-FFF2-40B4-BE49-F238E27FC236}">
                <a16:creationId xmlns:a16="http://schemas.microsoft.com/office/drawing/2014/main" id="{7F6915A2-51FD-4FCF-ADB5-42AAA39E42F2}"/>
              </a:ext>
            </a:extLst>
          </p:cNvPr>
          <p:cNvSpPr/>
          <p:nvPr/>
        </p:nvSpPr>
        <p:spPr>
          <a:xfrm>
            <a:off x="9853837" y="2620599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Deliver features through underlying stories </a:t>
            </a:r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6BD96783-A8FF-427F-BCA0-EA5686163884}"/>
              </a:ext>
            </a:extLst>
          </p:cNvPr>
          <p:cNvCxnSpPr>
            <a:cxnSpLocks/>
            <a:stCxn id="6" idx="3"/>
            <a:endCxn id="4" idx="1"/>
          </p:cNvCxnSpPr>
          <p:nvPr/>
        </p:nvCxnSpPr>
        <p:spPr>
          <a:xfrm>
            <a:off x="2152299" y="2986010"/>
            <a:ext cx="347187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3" name="Straight Arrow Connector 32">
            <a:extLst>
              <a:ext uri="{FF2B5EF4-FFF2-40B4-BE49-F238E27FC236}">
                <a16:creationId xmlns:a16="http://schemas.microsoft.com/office/drawing/2014/main" id="{AD486585-6C4E-4AB9-9CA9-168FA6338268}"/>
              </a:ext>
            </a:extLst>
          </p:cNvPr>
          <p:cNvCxnSpPr>
            <a:cxnSpLocks/>
            <a:stCxn id="10" idx="0"/>
            <a:endCxn id="9" idx="2"/>
          </p:cNvCxnSpPr>
          <p:nvPr/>
        </p:nvCxnSpPr>
        <p:spPr>
          <a:xfrm flipV="1">
            <a:off x="4902368" y="4862552"/>
            <a:ext cx="0" cy="21106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6" name="Straight Arrow Connector 35">
            <a:extLst>
              <a:ext uri="{FF2B5EF4-FFF2-40B4-BE49-F238E27FC236}">
                <a16:creationId xmlns:a16="http://schemas.microsoft.com/office/drawing/2014/main" id="{A10A59FD-2744-4030-A4D8-FB6C8A8EAEF8}"/>
              </a:ext>
            </a:extLst>
          </p:cNvPr>
          <p:cNvCxnSpPr>
            <a:cxnSpLocks/>
            <a:stCxn id="8" idx="3"/>
            <a:endCxn id="23" idx="1"/>
          </p:cNvCxnSpPr>
          <p:nvPr/>
        </p:nvCxnSpPr>
        <p:spPr>
          <a:xfrm>
            <a:off x="7434405" y="2956730"/>
            <a:ext cx="570294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DDB14979-563B-4540-A061-071459E2A6A8}"/>
              </a:ext>
            </a:extLst>
          </p:cNvPr>
          <p:cNvCxnSpPr>
            <a:cxnSpLocks/>
            <a:stCxn id="23" idx="3"/>
            <a:endCxn id="24" idx="1"/>
          </p:cNvCxnSpPr>
          <p:nvPr/>
        </p:nvCxnSpPr>
        <p:spPr>
          <a:xfrm>
            <a:off x="9260747" y="2956730"/>
            <a:ext cx="593090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4" name="Rectangle 53">
            <a:extLst>
              <a:ext uri="{FF2B5EF4-FFF2-40B4-BE49-F238E27FC236}">
                <a16:creationId xmlns:a16="http://schemas.microsoft.com/office/drawing/2014/main" id="{3A28EEF9-3E62-4B56-93FA-060709A2374B}"/>
              </a:ext>
            </a:extLst>
          </p:cNvPr>
          <p:cNvSpPr/>
          <p:nvPr/>
        </p:nvSpPr>
        <p:spPr>
          <a:xfrm>
            <a:off x="4000494" y="5887928"/>
            <a:ext cx="1796821" cy="3342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Program Capacity Planning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4B24D132-BC08-49B7-9717-040031181592}"/>
              </a:ext>
            </a:extLst>
          </p:cNvPr>
          <p:cNvSpPr/>
          <p:nvPr/>
        </p:nvSpPr>
        <p:spPr>
          <a:xfrm>
            <a:off x="896251" y="2047690"/>
            <a:ext cx="2066016" cy="3342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Program Backlog Management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F19C7E59-0B3E-4457-8721-2CFDA7E303AE}"/>
              </a:ext>
            </a:extLst>
          </p:cNvPr>
          <p:cNvSpPr/>
          <p:nvPr/>
        </p:nvSpPr>
        <p:spPr>
          <a:xfrm>
            <a:off x="7970501" y="4017496"/>
            <a:ext cx="1308932" cy="418087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Team Backlog Management</a:t>
            </a:r>
            <a:endParaRPr lang="en-US" sz="1050" dirty="0">
              <a:solidFill>
                <a:schemeClr val="tx1"/>
              </a:solidFill>
            </a:endParaRPr>
          </a:p>
        </p:txBody>
      </p:sp>
      <p:cxnSp>
        <p:nvCxnSpPr>
          <p:cNvPr id="61" name="Connector: Elbow 21">
            <a:extLst>
              <a:ext uri="{FF2B5EF4-FFF2-40B4-BE49-F238E27FC236}">
                <a16:creationId xmlns:a16="http://schemas.microsoft.com/office/drawing/2014/main" id="{AEBF24BB-2042-4BCF-AE3B-7EA1F96B8305}"/>
              </a:ext>
            </a:extLst>
          </p:cNvPr>
          <p:cNvCxnSpPr>
            <a:cxnSpLocks/>
            <a:stCxn id="57" idx="3"/>
          </p:cNvCxnSpPr>
          <p:nvPr/>
        </p:nvCxnSpPr>
        <p:spPr>
          <a:xfrm flipV="1">
            <a:off x="9279433" y="3309792"/>
            <a:ext cx="659799" cy="916748"/>
          </a:xfrm>
          <a:prstGeom prst="bentConnector2">
            <a:avLst/>
          </a:prstGeom>
          <a:ln w="190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ctor: Elbow 21">
            <a:extLst>
              <a:ext uri="{FF2B5EF4-FFF2-40B4-BE49-F238E27FC236}">
                <a16:creationId xmlns:a16="http://schemas.microsoft.com/office/drawing/2014/main" id="{93E75E0C-BDBC-499B-BE2C-0EBE609F0775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>
            <a:off x="5530392" y="2550969"/>
            <a:ext cx="647965" cy="405761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638D939B-BF44-4E63-AA07-52F8ED3EBF5C}"/>
              </a:ext>
            </a:extLst>
          </p:cNvPr>
          <p:cNvSpPr/>
          <p:nvPr/>
        </p:nvSpPr>
        <p:spPr>
          <a:xfrm>
            <a:off x="9639668" y="2047690"/>
            <a:ext cx="1684387" cy="3342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Program Execution</a:t>
            </a:r>
            <a:endParaRPr lang="en-US" sz="1050" dirty="0">
              <a:solidFill>
                <a:schemeClr val="tx1"/>
              </a:solidFill>
            </a:endParaRPr>
          </a:p>
        </p:txBody>
      </p: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3E7E2935-5654-4D23-9BDD-4B3D2D2A5244}"/>
              </a:ext>
            </a:extLst>
          </p:cNvPr>
          <p:cNvCxnSpPr>
            <a:cxnSpLocks/>
          </p:cNvCxnSpPr>
          <p:nvPr/>
        </p:nvCxnSpPr>
        <p:spPr>
          <a:xfrm>
            <a:off x="9259522" y="-721820"/>
            <a:ext cx="57029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3" name="Rectangle 52">
            <a:extLst>
              <a:ext uri="{FF2B5EF4-FFF2-40B4-BE49-F238E27FC236}">
                <a16:creationId xmlns:a16="http://schemas.microsoft.com/office/drawing/2014/main" id="{E1EF575C-ACF9-4158-832A-169FAA5E804D}"/>
              </a:ext>
            </a:extLst>
          </p:cNvPr>
          <p:cNvSpPr/>
          <p:nvPr/>
        </p:nvSpPr>
        <p:spPr>
          <a:xfrm>
            <a:off x="5684966" y="1263240"/>
            <a:ext cx="1308932" cy="374792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Portfolio Backlog Management</a:t>
            </a:r>
            <a:endParaRPr lang="en-US" sz="1050" dirty="0">
              <a:solidFill>
                <a:schemeClr val="tx1"/>
              </a:solidFill>
            </a:endParaRPr>
          </a:p>
        </p:txBody>
      </p:sp>
      <p:cxnSp>
        <p:nvCxnSpPr>
          <p:cNvPr id="60" name="Connector: Elbow 21">
            <a:extLst>
              <a:ext uri="{FF2B5EF4-FFF2-40B4-BE49-F238E27FC236}">
                <a16:creationId xmlns:a16="http://schemas.microsoft.com/office/drawing/2014/main" id="{F6220563-CCE0-4636-9323-09F4DF803C29}"/>
              </a:ext>
            </a:extLst>
          </p:cNvPr>
          <p:cNvCxnSpPr>
            <a:cxnSpLocks/>
            <a:stCxn id="24" idx="3"/>
            <a:endCxn id="53" idx="3"/>
          </p:cNvCxnSpPr>
          <p:nvPr/>
        </p:nvCxnSpPr>
        <p:spPr>
          <a:xfrm flipH="1" flipV="1">
            <a:off x="6993898" y="1450636"/>
            <a:ext cx="4115987" cy="1506094"/>
          </a:xfrm>
          <a:prstGeom prst="bentConnector3">
            <a:avLst>
              <a:gd name="adj1" fmla="val -13947"/>
            </a:avLst>
          </a:prstGeom>
          <a:ln w="190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ctangle 33">
            <a:extLst>
              <a:ext uri="{FF2B5EF4-FFF2-40B4-BE49-F238E27FC236}">
                <a16:creationId xmlns:a16="http://schemas.microsoft.com/office/drawing/2014/main" id="{725DD356-3A62-49D6-951C-9994A0258534}"/>
              </a:ext>
            </a:extLst>
          </p:cNvPr>
          <p:cNvSpPr/>
          <p:nvPr/>
        </p:nvSpPr>
        <p:spPr>
          <a:xfrm>
            <a:off x="6575252" y="4847482"/>
            <a:ext cx="1490869" cy="3342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Program OKRs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37" name="Rectangle 20">
            <a:extLst>
              <a:ext uri="{FF2B5EF4-FFF2-40B4-BE49-F238E27FC236}">
                <a16:creationId xmlns:a16="http://schemas.microsoft.com/office/drawing/2014/main" id="{E6A4A0FB-6124-4ACE-85BC-B71C121EA23C}"/>
              </a:ext>
            </a:extLst>
          </p:cNvPr>
          <p:cNvSpPr/>
          <p:nvPr/>
        </p:nvSpPr>
        <p:spPr>
          <a:xfrm>
            <a:off x="6593015" y="5549961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Create and define objectives</a:t>
            </a:r>
          </a:p>
        </p:txBody>
      </p:sp>
      <p:sp>
        <p:nvSpPr>
          <p:cNvPr id="38" name="Rectangle 20">
            <a:extLst>
              <a:ext uri="{FF2B5EF4-FFF2-40B4-BE49-F238E27FC236}">
                <a16:creationId xmlns:a16="http://schemas.microsoft.com/office/drawing/2014/main" id="{4E5BD23C-B24A-40C2-A890-809FFAE1652B}"/>
              </a:ext>
            </a:extLst>
          </p:cNvPr>
          <p:cNvSpPr/>
          <p:nvPr/>
        </p:nvSpPr>
        <p:spPr>
          <a:xfrm>
            <a:off x="8283180" y="5549961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Define current and target metrics (key results) for objectives</a:t>
            </a:r>
          </a:p>
        </p:txBody>
      </p:sp>
      <p:sp>
        <p:nvSpPr>
          <p:cNvPr id="40" name="Rectangle 20">
            <a:extLst>
              <a:ext uri="{FF2B5EF4-FFF2-40B4-BE49-F238E27FC236}">
                <a16:creationId xmlns:a16="http://schemas.microsoft.com/office/drawing/2014/main" id="{C9C0DF52-9CAB-4CDA-AA4C-DECB7925FF00}"/>
              </a:ext>
            </a:extLst>
          </p:cNvPr>
          <p:cNvSpPr/>
          <p:nvPr/>
        </p:nvSpPr>
        <p:spPr>
          <a:xfrm>
            <a:off x="8283180" y="4678499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Monitor progress through key results</a:t>
            </a:r>
          </a:p>
        </p:txBody>
      </p:sp>
      <p:cxnSp>
        <p:nvCxnSpPr>
          <p:cNvPr id="41" name="Straight Arrow Connector 40">
            <a:extLst>
              <a:ext uri="{FF2B5EF4-FFF2-40B4-BE49-F238E27FC236}">
                <a16:creationId xmlns:a16="http://schemas.microsoft.com/office/drawing/2014/main" id="{6AE9617D-5B3B-44E0-A0DC-3E7D45CC4BAC}"/>
              </a:ext>
            </a:extLst>
          </p:cNvPr>
          <p:cNvCxnSpPr>
            <a:cxnSpLocks/>
            <a:stCxn id="37" idx="3"/>
            <a:endCxn id="38" idx="1"/>
          </p:cNvCxnSpPr>
          <p:nvPr/>
        </p:nvCxnSpPr>
        <p:spPr>
          <a:xfrm>
            <a:off x="7849063" y="5886092"/>
            <a:ext cx="434117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Arrow Connector 43">
            <a:extLst>
              <a:ext uri="{FF2B5EF4-FFF2-40B4-BE49-F238E27FC236}">
                <a16:creationId xmlns:a16="http://schemas.microsoft.com/office/drawing/2014/main" id="{527DBA1D-3ACB-468C-9166-66C158B5B6C7}"/>
              </a:ext>
            </a:extLst>
          </p:cNvPr>
          <p:cNvCxnSpPr>
            <a:cxnSpLocks/>
            <a:stCxn id="38" idx="0"/>
            <a:endCxn id="40" idx="2"/>
          </p:cNvCxnSpPr>
          <p:nvPr/>
        </p:nvCxnSpPr>
        <p:spPr>
          <a:xfrm flipV="1">
            <a:off x="8911204" y="5350761"/>
            <a:ext cx="0" cy="19920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ctangle 48">
            <a:extLst>
              <a:ext uri="{FF2B5EF4-FFF2-40B4-BE49-F238E27FC236}">
                <a16:creationId xmlns:a16="http://schemas.microsoft.com/office/drawing/2014/main" id="{365DF77E-5966-4B5C-A55D-FDAFFEA54B26}"/>
              </a:ext>
            </a:extLst>
          </p:cNvPr>
          <p:cNvSpPr/>
          <p:nvPr/>
        </p:nvSpPr>
        <p:spPr>
          <a:xfrm>
            <a:off x="10468392" y="5093935"/>
            <a:ext cx="1118304" cy="415386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Cross-Program Coordination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51" name="Rectangle 13">
            <a:extLst>
              <a:ext uri="{FF2B5EF4-FFF2-40B4-BE49-F238E27FC236}">
                <a16:creationId xmlns:a16="http://schemas.microsoft.com/office/drawing/2014/main" id="{D36488CD-6D0A-4279-BB70-0A1F75D1981E}"/>
              </a:ext>
            </a:extLst>
          </p:cNvPr>
          <p:cNvSpPr/>
          <p:nvPr/>
        </p:nvSpPr>
        <p:spPr>
          <a:xfrm>
            <a:off x="10384129" y="4295405"/>
            <a:ext cx="1256048" cy="669732"/>
          </a:xfrm>
          <a:prstGeom prst="rect">
            <a:avLst/>
          </a:prstGeom>
          <a:solidFill>
            <a:srgbClr val="21213D"/>
          </a:solidFill>
          <a:ln w="12700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Deliver cross-program dependencies</a:t>
            </a:r>
            <a:endParaRPr lang="en-US" dirty="0"/>
          </a:p>
        </p:txBody>
      </p:sp>
      <p:cxnSp>
        <p:nvCxnSpPr>
          <p:cNvPr id="87" name="Connector: Elbow 86">
            <a:extLst>
              <a:ext uri="{FF2B5EF4-FFF2-40B4-BE49-F238E27FC236}">
                <a16:creationId xmlns:a16="http://schemas.microsoft.com/office/drawing/2014/main" id="{6D6E7660-3214-4AB2-8284-6E04EDCD502B}"/>
              </a:ext>
            </a:extLst>
          </p:cNvPr>
          <p:cNvCxnSpPr>
            <a:stCxn id="24" idx="2"/>
            <a:endCxn id="51" idx="0"/>
          </p:cNvCxnSpPr>
          <p:nvPr/>
        </p:nvCxnSpPr>
        <p:spPr>
          <a:xfrm rot="16200000" flipH="1">
            <a:off x="10245735" y="3528987"/>
            <a:ext cx="1002544" cy="530292"/>
          </a:xfrm>
          <a:prstGeom prst="bentConnector3">
            <a:avLst/>
          </a:prstGeom>
          <a:ln w="1270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Arrow Connector 98">
            <a:extLst>
              <a:ext uri="{FF2B5EF4-FFF2-40B4-BE49-F238E27FC236}">
                <a16:creationId xmlns:a16="http://schemas.microsoft.com/office/drawing/2014/main" id="{7CBB9DEB-CBC4-425E-BB1B-223A8C184789}"/>
              </a:ext>
            </a:extLst>
          </p:cNvPr>
          <p:cNvCxnSpPr>
            <a:stCxn id="9" idx="0"/>
            <a:endCxn id="5" idx="2"/>
          </p:cNvCxnSpPr>
          <p:nvPr/>
        </p:nvCxnSpPr>
        <p:spPr>
          <a:xfrm flipV="1">
            <a:off x="4902368" y="3732326"/>
            <a:ext cx="0" cy="457964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Connector: Elbow 121">
            <a:extLst>
              <a:ext uri="{FF2B5EF4-FFF2-40B4-BE49-F238E27FC236}">
                <a16:creationId xmlns:a16="http://schemas.microsoft.com/office/drawing/2014/main" id="{190B5061-3BA6-4799-B606-82D979EA5A17}"/>
              </a:ext>
            </a:extLst>
          </p:cNvPr>
          <p:cNvCxnSpPr>
            <a:cxnSpLocks/>
            <a:endCxn id="23" idx="1"/>
          </p:cNvCxnSpPr>
          <p:nvPr/>
        </p:nvCxnSpPr>
        <p:spPr>
          <a:xfrm flipV="1">
            <a:off x="5530392" y="2956730"/>
            <a:ext cx="2474307" cy="1369407"/>
          </a:xfrm>
          <a:prstGeom prst="bentConnector3">
            <a:avLst>
              <a:gd name="adj1" fmla="val 85801"/>
            </a:avLst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411712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0" name="Connector: Elbow 21">
            <a:extLst>
              <a:ext uri="{FF2B5EF4-FFF2-40B4-BE49-F238E27FC236}">
                <a16:creationId xmlns:a16="http://schemas.microsoft.com/office/drawing/2014/main" id="{F6220563-CCE0-4636-9323-09F4DF803C29}"/>
              </a:ext>
            </a:extLst>
          </p:cNvPr>
          <p:cNvCxnSpPr>
            <a:cxnSpLocks/>
            <a:stCxn id="24" idx="3"/>
            <a:endCxn id="53" idx="3"/>
          </p:cNvCxnSpPr>
          <p:nvPr/>
        </p:nvCxnSpPr>
        <p:spPr>
          <a:xfrm flipH="1" flipV="1">
            <a:off x="6993898" y="1450636"/>
            <a:ext cx="2004432" cy="1378380"/>
          </a:xfrm>
          <a:prstGeom prst="bentConnector3">
            <a:avLst>
              <a:gd name="adj1" fmla="val -19983"/>
            </a:avLst>
          </a:prstGeom>
          <a:ln w="190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21">
            <a:extLst>
              <a:ext uri="{FF2B5EF4-FFF2-40B4-BE49-F238E27FC236}">
                <a16:creationId xmlns:a16="http://schemas.microsoft.com/office/drawing/2014/main" id="{08982A85-D470-4646-9A82-215EC246A221}"/>
              </a:ext>
            </a:extLst>
          </p:cNvPr>
          <p:cNvCxnSpPr>
            <a:cxnSpLocks/>
            <a:endCxn id="6" idx="1"/>
          </p:cNvCxnSpPr>
          <p:nvPr/>
        </p:nvCxnSpPr>
        <p:spPr>
          <a:xfrm rot="10800000" flipV="1">
            <a:off x="883062" y="1476036"/>
            <a:ext cx="4810377" cy="1352980"/>
          </a:xfrm>
          <a:prstGeom prst="bentConnector3">
            <a:avLst>
              <a:gd name="adj1" fmla="val 110276"/>
            </a:avLst>
          </a:prstGeom>
          <a:ln w="190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17B24AB2-215A-4F09-8326-CB4A495BD6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392" y="72776"/>
            <a:ext cx="11253216" cy="699516"/>
          </a:xfrm>
        </p:spPr>
        <p:txBody>
          <a:bodyPr/>
          <a:lstStyle/>
          <a:p>
            <a:r>
              <a:rPr lang="en-GB" sz="2800" dirty="0"/>
              <a:t>Team Backlog Management &gt; Team Execution + Cross-Team Coordination: MASTER</a:t>
            </a:r>
            <a:endParaRPr lang="en-US" sz="2800" dirty="0"/>
          </a:p>
        </p:txBody>
      </p:sp>
      <p:sp>
        <p:nvSpPr>
          <p:cNvPr id="4" name="Rectangle 13">
            <a:extLst>
              <a:ext uri="{FF2B5EF4-FFF2-40B4-BE49-F238E27FC236}">
                <a16:creationId xmlns:a16="http://schemas.microsoft.com/office/drawing/2014/main" id="{8F352C24-0884-457D-94DC-798CC042504C}"/>
              </a:ext>
            </a:extLst>
          </p:cNvPr>
          <p:cNvSpPr/>
          <p:nvPr/>
        </p:nvSpPr>
        <p:spPr>
          <a:xfrm>
            <a:off x="2486296" y="2492885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Describe and categorize stories</a:t>
            </a:r>
          </a:p>
        </p:txBody>
      </p:sp>
      <p:sp>
        <p:nvSpPr>
          <p:cNvPr id="6" name="Rectangle 20">
            <a:extLst>
              <a:ext uri="{FF2B5EF4-FFF2-40B4-BE49-F238E27FC236}">
                <a16:creationId xmlns:a16="http://schemas.microsoft.com/office/drawing/2014/main" id="{D73B7739-D916-4AC3-AF69-B6725B93D314}"/>
              </a:ext>
            </a:extLst>
          </p:cNvPr>
          <p:cNvSpPr/>
          <p:nvPr/>
        </p:nvSpPr>
        <p:spPr>
          <a:xfrm>
            <a:off x="883061" y="2492885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Create stories</a:t>
            </a:r>
          </a:p>
        </p:txBody>
      </p:sp>
      <p:sp>
        <p:nvSpPr>
          <p:cNvPr id="7" name="Rectangle 13">
            <a:extLst>
              <a:ext uri="{FF2B5EF4-FFF2-40B4-BE49-F238E27FC236}">
                <a16:creationId xmlns:a16="http://schemas.microsoft.com/office/drawing/2014/main" id="{23AD0492-22EA-4B4E-A664-C63B3ED614DD}"/>
              </a:ext>
            </a:extLst>
          </p:cNvPr>
          <p:cNvSpPr/>
          <p:nvPr/>
        </p:nvSpPr>
        <p:spPr>
          <a:xfrm>
            <a:off x="4109373" y="2492885"/>
            <a:ext cx="1256047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Estimate story sizes</a:t>
            </a:r>
          </a:p>
        </p:txBody>
      </p:sp>
      <p:sp>
        <p:nvSpPr>
          <p:cNvPr id="8" name="Rectangle 13">
            <a:extLst>
              <a:ext uri="{FF2B5EF4-FFF2-40B4-BE49-F238E27FC236}">
                <a16:creationId xmlns:a16="http://schemas.microsoft.com/office/drawing/2014/main" id="{ADB5A570-58D1-4696-8CE7-58BE334E6F1B}"/>
              </a:ext>
            </a:extLst>
          </p:cNvPr>
          <p:cNvSpPr/>
          <p:nvPr/>
        </p:nvSpPr>
        <p:spPr>
          <a:xfrm>
            <a:off x="5741763" y="3515381"/>
            <a:ext cx="1250982" cy="672263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>
                <a:solidFill>
                  <a:srgbClr val="FFFFFF"/>
                </a:solidFill>
              </a:rPr>
              <a:t>Schedule stories into appropriate timebox (e.g., sprint)</a:t>
            </a:r>
          </a:p>
        </p:txBody>
      </p:sp>
      <p:sp>
        <p:nvSpPr>
          <p:cNvPr id="23" name="Rectangle 13">
            <a:extLst>
              <a:ext uri="{FF2B5EF4-FFF2-40B4-BE49-F238E27FC236}">
                <a16:creationId xmlns:a16="http://schemas.microsoft.com/office/drawing/2014/main" id="{7FA82EE5-BC1F-40C1-A76F-AE2467641255}"/>
              </a:ext>
            </a:extLst>
          </p:cNvPr>
          <p:cNvSpPr/>
          <p:nvPr/>
        </p:nvSpPr>
        <p:spPr>
          <a:xfrm>
            <a:off x="5741763" y="2492885"/>
            <a:ext cx="1256049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>
                <a:solidFill>
                  <a:srgbClr val="FFFFFF"/>
                </a:solidFill>
              </a:rPr>
              <a:t>Prioritize story backlog</a:t>
            </a:r>
            <a:endParaRPr lang="en-US" sz="1000"/>
          </a:p>
        </p:txBody>
      </p:sp>
      <p:sp>
        <p:nvSpPr>
          <p:cNvPr id="24" name="Rectangle 13">
            <a:extLst>
              <a:ext uri="{FF2B5EF4-FFF2-40B4-BE49-F238E27FC236}">
                <a16:creationId xmlns:a16="http://schemas.microsoft.com/office/drawing/2014/main" id="{7F6915A2-51FD-4FCF-ADB5-42AAA39E42F2}"/>
              </a:ext>
            </a:extLst>
          </p:cNvPr>
          <p:cNvSpPr/>
          <p:nvPr/>
        </p:nvSpPr>
        <p:spPr>
          <a:xfrm>
            <a:off x="7752415" y="2492885"/>
            <a:ext cx="1245915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>
                <a:solidFill>
                  <a:srgbClr val="FFFFFF"/>
                </a:solidFill>
              </a:rPr>
              <a:t>Deliver stories</a:t>
            </a:r>
            <a:endParaRPr lang="en-US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6BD96783-A8FF-427F-BCA0-EA5686163884}"/>
              </a:ext>
            </a:extLst>
          </p:cNvPr>
          <p:cNvCxnSpPr>
            <a:cxnSpLocks/>
            <a:stCxn id="6" idx="3"/>
            <a:endCxn id="4" idx="1"/>
          </p:cNvCxnSpPr>
          <p:nvPr/>
        </p:nvCxnSpPr>
        <p:spPr>
          <a:xfrm>
            <a:off x="2139109" y="2829016"/>
            <a:ext cx="347187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DDB14979-563B-4540-A061-071459E2A6A8}"/>
              </a:ext>
            </a:extLst>
          </p:cNvPr>
          <p:cNvCxnSpPr>
            <a:cxnSpLocks/>
            <a:stCxn id="23" idx="2"/>
            <a:endCxn id="8" idx="0"/>
          </p:cNvCxnSpPr>
          <p:nvPr/>
        </p:nvCxnSpPr>
        <p:spPr>
          <a:xfrm flipH="1">
            <a:off x="6367254" y="3165147"/>
            <a:ext cx="2534" cy="350234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id="{99FC8B24-BB65-490F-B2DA-8C54563A3AE5}"/>
              </a:ext>
            </a:extLst>
          </p:cNvPr>
          <p:cNvSpPr/>
          <p:nvPr/>
        </p:nvSpPr>
        <p:spPr>
          <a:xfrm>
            <a:off x="649502" y="1850829"/>
            <a:ext cx="6516918" cy="2612978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4B24D132-BC08-49B7-9717-040031181592}"/>
              </a:ext>
            </a:extLst>
          </p:cNvPr>
          <p:cNvSpPr/>
          <p:nvPr/>
        </p:nvSpPr>
        <p:spPr>
          <a:xfrm>
            <a:off x="883061" y="1971193"/>
            <a:ext cx="2066016" cy="3342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050">
                <a:solidFill>
                  <a:schemeClr val="tx1"/>
                </a:solidFill>
              </a:rPr>
              <a:t>Team Backlog Management</a:t>
            </a:r>
            <a:endParaRPr lang="en-US" sz="1050">
              <a:solidFill>
                <a:schemeClr val="tx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C95ED92-3233-4293-B2BE-4ED8449DDECD}"/>
              </a:ext>
            </a:extLst>
          </p:cNvPr>
          <p:cNvSpPr/>
          <p:nvPr/>
        </p:nvSpPr>
        <p:spPr>
          <a:xfrm>
            <a:off x="7508637" y="1850830"/>
            <a:ext cx="1704491" cy="2612978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38D939B-BF44-4E63-AA07-52F8ED3EBF5C}"/>
              </a:ext>
            </a:extLst>
          </p:cNvPr>
          <p:cNvSpPr/>
          <p:nvPr/>
        </p:nvSpPr>
        <p:spPr>
          <a:xfrm>
            <a:off x="7740979" y="1962148"/>
            <a:ext cx="1283611" cy="3342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050">
                <a:solidFill>
                  <a:schemeClr val="tx1"/>
                </a:solidFill>
              </a:rPr>
              <a:t>Team Execution</a:t>
            </a:r>
            <a:endParaRPr lang="en-US" sz="1050">
              <a:solidFill>
                <a:schemeClr val="tx1"/>
              </a:solidFill>
            </a:endParaRPr>
          </a:p>
        </p:txBody>
      </p: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3E7E2935-5654-4D23-9BDD-4B3D2D2A5244}"/>
              </a:ext>
            </a:extLst>
          </p:cNvPr>
          <p:cNvCxnSpPr>
            <a:cxnSpLocks/>
          </p:cNvCxnSpPr>
          <p:nvPr/>
        </p:nvCxnSpPr>
        <p:spPr>
          <a:xfrm>
            <a:off x="9259522" y="-721820"/>
            <a:ext cx="57029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3" name="Rectangle 52">
            <a:extLst>
              <a:ext uri="{FF2B5EF4-FFF2-40B4-BE49-F238E27FC236}">
                <a16:creationId xmlns:a16="http://schemas.microsoft.com/office/drawing/2014/main" id="{E1EF575C-ACF9-4158-832A-169FAA5E804D}"/>
              </a:ext>
            </a:extLst>
          </p:cNvPr>
          <p:cNvSpPr/>
          <p:nvPr/>
        </p:nvSpPr>
        <p:spPr>
          <a:xfrm>
            <a:off x="5684966" y="1263240"/>
            <a:ext cx="1308932" cy="374792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>
                <a:lumMod val="90000"/>
                <a:lumOff val="1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Program Backlog Management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35" name="Rectangle 13">
            <a:extLst>
              <a:ext uri="{FF2B5EF4-FFF2-40B4-BE49-F238E27FC236}">
                <a16:creationId xmlns:a16="http://schemas.microsoft.com/office/drawing/2014/main" id="{4E47E0DD-4D07-49C4-9FFC-75BBD55D4191}"/>
              </a:ext>
            </a:extLst>
          </p:cNvPr>
          <p:cNvSpPr/>
          <p:nvPr/>
        </p:nvSpPr>
        <p:spPr>
          <a:xfrm>
            <a:off x="7742282" y="3517912"/>
            <a:ext cx="1256048" cy="66720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Assign stories to relevant team members</a:t>
            </a:r>
            <a:endParaRPr lang="en-US" dirty="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B920A64-4A7A-4CA1-AF61-8D7BACB2B481}"/>
              </a:ext>
            </a:extLst>
          </p:cNvPr>
          <p:cNvSpPr/>
          <p:nvPr/>
        </p:nvSpPr>
        <p:spPr>
          <a:xfrm>
            <a:off x="9628480" y="1850829"/>
            <a:ext cx="2055051" cy="2612978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610B22DF-6FA2-4F1A-BAFF-6405A43F5FB3}"/>
              </a:ext>
            </a:extLst>
          </p:cNvPr>
          <p:cNvSpPr/>
          <p:nvPr/>
        </p:nvSpPr>
        <p:spPr>
          <a:xfrm>
            <a:off x="9757594" y="1985378"/>
            <a:ext cx="1796821" cy="3342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Cross-Team Coordination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57" name="Rectangle 13">
            <a:extLst>
              <a:ext uri="{FF2B5EF4-FFF2-40B4-BE49-F238E27FC236}">
                <a16:creationId xmlns:a16="http://schemas.microsoft.com/office/drawing/2014/main" id="{16F89592-0CC1-416D-BC9E-9EE1CBFDC483}"/>
              </a:ext>
            </a:extLst>
          </p:cNvPr>
          <p:cNvSpPr/>
          <p:nvPr/>
        </p:nvSpPr>
        <p:spPr>
          <a:xfrm>
            <a:off x="10052891" y="3056874"/>
            <a:ext cx="1256048" cy="66973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>
                <a:solidFill>
                  <a:srgbClr val="FFFFFF"/>
                </a:solidFill>
              </a:rPr>
              <a:t>Deliver cross-team dependencies</a:t>
            </a:r>
            <a:endParaRPr lang="en-US"/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DD9EE94F-588A-4510-87A2-1D876108C9D0}"/>
              </a:ext>
            </a:extLst>
          </p:cNvPr>
          <p:cNvCxnSpPr>
            <a:cxnSpLocks/>
            <a:stCxn id="35" idx="0"/>
            <a:endCxn id="24" idx="2"/>
          </p:cNvCxnSpPr>
          <p:nvPr/>
        </p:nvCxnSpPr>
        <p:spPr>
          <a:xfrm flipV="1">
            <a:off x="8370306" y="3165147"/>
            <a:ext cx="5067" cy="352765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0F38BCFB-946A-462A-8063-23921050413B}"/>
              </a:ext>
            </a:extLst>
          </p:cNvPr>
          <p:cNvCxnSpPr>
            <a:cxnSpLocks/>
            <a:stCxn id="4" idx="3"/>
            <a:endCxn id="7" idx="1"/>
          </p:cNvCxnSpPr>
          <p:nvPr/>
        </p:nvCxnSpPr>
        <p:spPr>
          <a:xfrm>
            <a:off x="3742344" y="2829016"/>
            <a:ext cx="36702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56B28870-2FC9-4FED-B6BE-7FB44B577484}"/>
              </a:ext>
            </a:extLst>
          </p:cNvPr>
          <p:cNvCxnSpPr>
            <a:cxnSpLocks/>
            <a:stCxn id="7" idx="3"/>
            <a:endCxn id="23" idx="1"/>
          </p:cNvCxnSpPr>
          <p:nvPr/>
        </p:nvCxnSpPr>
        <p:spPr>
          <a:xfrm>
            <a:off x="5365420" y="2829016"/>
            <a:ext cx="37634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3A7BAACC-A16F-4932-A3E7-C8DE49FA5305}"/>
              </a:ext>
            </a:extLst>
          </p:cNvPr>
          <p:cNvCxnSpPr>
            <a:cxnSpLocks/>
            <a:stCxn id="8" idx="3"/>
            <a:endCxn id="35" idx="1"/>
          </p:cNvCxnSpPr>
          <p:nvPr/>
        </p:nvCxnSpPr>
        <p:spPr>
          <a:xfrm>
            <a:off x="6992745" y="3851513"/>
            <a:ext cx="749537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30434D20-815B-45EA-B746-D1EAC3482ADA}"/>
              </a:ext>
            </a:extLst>
          </p:cNvPr>
          <p:cNvCxnSpPr>
            <a:stCxn id="35" idx="3"/>
            <a:endCxn id="57" idx="2"/>
          </p:cNvCxnSpPr>
          <p:nvPr/>
        </p:nvCxnSpPr>
        <p:spPr>
          <a:xfrm flipV="1">
            <a:off x="8998330" y="3726606"/>
            <a:ext cx="1682585" cy="124907"/>
          </a:xfrm>
          <a:prstGeom prst="bentConnector2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7D4874B7-0DCE-4184-B0FE-3EF7D12DE1E3}"/>
              </a:ext>
            </a:extLst>
          </p:cNvPr>
          <p:cNvCxnSpPr>
            <a:cxnSpLocks/>
            <a:stCxn id="57" idx="0"/>
          </p:cNvCxnSpPr>
          <p:nvPr/>
        </p:nvCxnSpPr>
        <p:spPr>
          <a:xfrm rot="16200000" flipV="1">
            <a:off x="9804056" y="2180015"/>
            <a:ext cx="76200" cy="1677518"/>
          </a:xfrm>
          <a:prstGeom prst="bentConnector2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A30BA4A4-3BAD-4E73-BD0C-440BC6899DB3}"/>
              </a:ext>
            </a:extLst>
          </p:cNvPr>
          <p:cNvSpPr/>
          <p:nvPr/>
        </p:nvSpPr>
        <p:spPr>
          <a:xfrm>
            <a:off x="4315663" y="4813821"/>
            <a:ext cx="1775993" cy="3342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Team OKRs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D626321-B238-4A33-A0B1-E6B6E28517DD}"/>
              </a:ext>
            </a:extLst>
          </p:cNvPr>
          <p:cNvSpPr/>
          <p:nvPr/>
        </p:nvSpPr>
        <p:spPr>
          <a:xfrm>
            <a:off x="2261940" y="4699011"/>
            <a:ext cx="5883439" cy="1416706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tangle 20">
            <a:extLst>
              <a:ext uri="{FF2B5EF4-FFF2-40B4-BE49-F238E27FC236}">
                <a16:creationId xmlns:a16="http://schemas.microsoft.com/office/drawing/2014/main" id="{86F3F656-8F6E-48F1-8BEB-BBB4C0295F43}"/>
              </a:ext>
            </a:extLst>
          </p:cNvPr>
          <p:cNvSpPr/>
          <p:nvPr/>
        </p:nvSpPr>
        <p:spPr>
          <a:xfrm>
            <a:off x="2484386" y="5274477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Create and define objectives</a:t>
            </a:r>
          </a:p>
        </p:txBody>
      </p:sp>
      <p:sp>
        <p:nvSpPr>
          <p:cNvPr id="61" name="Rectangle 20">
            <a:extLst>
              <a:ext uri="{FF2B5EF4-FFF2-40B4-BE49-F238E27FC236}">
                <a16:creationId xmlns:a16="http://schemas.microsoft.com/office/drawing/2014/main" id="{AFE03109-4018-4467-849B-D30EC70ED927}"/>
              </a:ext>
            </a:extLst>
          </p:cNvPr>
          <p:cNvSpPr/>
          <p:nvPr/>
        </p:nvSpPr>
        <p:spPr>
          <a:xfrm>
            <a:off x="4575635" y="5274477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Define current and target metrics (key results) for objectives</a:t>
            </a:r>
          </a:p>
        </p:txBody>
      </p:sp>
      <p:sp>
        <p:nvSpPr>
          <p:cNvPr id="62" name="Rectangle 20">
            <a:extLst>
              <a:ext uri="{FF2B5EF4-FFF2-40B4-BE49-F238E27FC236}">
                <a16:creationId xmlns:a16="http://schemas.microsoft.com/office/drawing/2014/main" id="{EDF4D85C-E7AD-4908-BB56-9137281A6D9C}"/>
              </a:ext>
            </a:extLst>
          </p:cNvPr>
          <p:cNvSpPr/>
          <p:nvPr/>
        </p:nvSpPr>
        <p:spPr>
          <a:xfrm>
            <a:off x="6682306" y="5274477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Monitor progress through key results</a:t>
            </a: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1B1F8B5E-0FD1-42DA-8F9C-2A6D0CB12C63}"/>
              </a:ext>
            </a:extLst>
          </p:cNvPr>
          <p:cNvCxnSpPr>
            <a:cxnSpLocks/>
            <a:stCxn id="54" idx="3"/>
            <a:endCxn id="61" idx="1"/>
          </p:cNvCxnSpPr>
          <p:nvPr/>
        </p:nvCxnSpPr>
        <p:spPr>
          <a:xfrm>
            <a:off x="3740434" y="5610608"/>
            <a:ext cx="835201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D4CDBA95-8B26-466E-8255-27A702EA78B7}"/>
              </a:ext>
            </a:extLst>
          </p:cNvPr>
          <p:cNvCxnSpPr>
            <a:stCxn id="61" idx="3"/>
            <a:endCxn id="62" idx="1"/>
          </p:cNvCxnSpPr>
          <p:nvPr/>
        </p:nvCxnSpPr>
        <p:spPr>
          <a:xfrm>
            <a:off x="5831683" y="5610608"/>
            <a:ext cx="850623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7AFC4F66-C461-4565-BCDB-8969FC4F3278}"/>
              </a:ext>
            </a:extLst>
          </p:cNvPr>
          <p:cNvCxnSpPr>
            <a:stCxn id="4" idx="2"/>
            <a:endCxn id="54" idx="0"/>
          </p:cNvCxnSpPr>
          <p:nvPr/>
        </p:nvCxnSpPr>
        <p:spPr>
          <a:xfrm rot="5400000">
            <a:off x="2058700" y="4218857"/>
            <a:ext cx="2109330" cy="1910"/>
          </a:xfrm>
          <a:prstGeom prst="bentConnector3">
            <a:avLst/>
          </a:prstGeom>
          <a:ln w="12700"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91E60701-05F5-4B7A-BC71-AABE62F95385}"/>
              </a:ext>
            </a:extLst>
          </p:cNvPr>
          <p:cNvCxnSpPr>
            <a:cxnSpLocks/>
            <a:stCxn id="24" idx="1"/>
            <a:endCxn id="62" idx="0"/>
          </p:cNvCxnSpPr>
          <p:nvPr/>
        </p:nvCxnSpPr>
        <p:spPr>
          <a:xfrm rot="10800000" flipV="1">
            <a:off x="7310331" y="2829015"/>
            <a:ext cx="442085" cy="2445461"/>
          </a:xfrm>
          <a:prstGeom prst="bentConnector2">
            <a:avLst/>
          </a:prstGeom>
          <a:ln w="12700"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233955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Rectangle 45">
            <a:extLst>
              <a:ext uri="{FF2B5EF4-FFF2-40B4-BE49-F238E27FC236}">
                <a16:creationId xmlns:a16="http://schemas.microsoft.com/office/drawing/2014/main" id="{0C95ED92-3233-4293-B2BE-4ED8449DDECD}"/>
              </a:ext>
            </a:extLst>
          </p:cNvPr>
          <p:cNvSpPr/>
          <p:nvPr/>
        </p:nvSpPr>
        <p:spPr>
          <a:xfrm>
            <a:off x="7508637" y="1850830"/>
            <a:ext cx="1704491" cy="2612978"/>
          </a:xfrm>
          <a:prstGeom prst="rect">
            <a:avLst/>
          </a:prstGeom>
          <a:solidFill>
            <a:srgbClr val="12D6E0">
              <a:alpha val="25000"/>
            </a:srgbClr>
          </a:solidFill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B920A64-4A7A-4CA1-AF61-8D7BACB2B481}"/>
              </a:ext>
            </a:extLst>
          </p:cNvPr>
          <p:cNvSpPr/>
          <p:nvPr/>
        </p:nvSpPr>
        <p:spPr>
          <a:xfrm>
            <a:off x="9628480" y="1850829"/>
            <a:ext cx="2055051" cy="2612978"/>
          </a:xfrm>
          <a:prstGeom prst="rect">
            <a:avLst/>
          </a:prstGeom>
          <a:solidFill>
            <a:srgbClr val="12D6E0">
              <a:alpha val="25000"/>
            </a:srgbClr>
          </a:solidFill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0" name="Connector: Elbow 21">
            <a:extLst>
              <a:ext uri="{FF2B5EF4-FFF2-40B4-BE49-F238E27FC236}">
                <a16:creationId xmlns:a16="http://schemas.microsoft.com/office/drawing/2014/main" id="{F6220563-CCE0-4636-9323-09F4DF803C29}"/>
              </a:ext>
            </a:extLst>
          </p:cNvPr>
          <p:cNvCxnSpPr>
            <a:cxnSpLocks/>
            <a:stCxn id="24" idx="3"/>
            <a:endCxn id="53" idx="3"/>
          </p:cNvCxnSpPr>
          <p:nvPr/>
        </p:nvCxnSpPr>
        <p:spPr>
          <a:xfrm flipH="1" flipV="1">
            <a:off x="6993898" y="1450636"/>
            <a:ext cx="2004432" cy="1378380"/>
          </a:xfrm>
          <a:prstGeom prst="bentConnector3">
            <a:avLst>
              <a:gd name="adj1" fmla="val -19983"/>
            </a:avLst>
          </a:prstGeom>
          <a:ln w="190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21">
            <a:extLst>
              <a:ext uri="{FF2B5EF4-FFF2-40B4-BE49-F238E27FC236}">
                <a16:creationId xmlns:a16="http://schemas.microsoft.com/office/drawing/2014/main" id="{08982A85-D470-4646-9A82-215EC246A221}"/>
              </a:ext>
            </a:extLst>
          </p:cNvPr>
          <p:cNvCxnSpPr>
            <a:cxnSpLocks/>
            <a:endCxn id="6" idx="1"/>
          </p:cNvCxnSpPr>
          <p:nvPr/>
        </p:nvCxnSpPr>
        <p:spPr>
          <a:xfrm rot="10800000" flipV="1">
            <a:off x="883062" y="1476036"/>
            <a:ext cx="4810377" cy="1352980"/>
          </a:xfrm>
          <a:prstGeom prst="bentConnector3">
            <a:avLst>
              <a:gd name="adj1" fmla="val 110276"/>
            </a:avLst>
          </a:prstGeom>
          <a:ln w="190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17B24AB2-215A-4F09-8326-CB4A495BD6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392" y="72776"/>
            <a:ext cx="11253216" cy="699516"/>
          </a:xfrm>
        </p:spPr>
        <p:txBody>
          <a:bodyPr/>
          <a:lstStyle/>
          <a:p>
            <a:r>
              <a:rPr lang="en-GB" sz="2800" dirty="0"/>
              <a:t>Team Backlog Management &gt; Team Execution + Cross-Team Coordination : Agile Team Delivery</a:t>
            </a:r>
            <a:endParaRPr lang="en-US" sz="2800" dirty="0"/>
          </a:p>
        </p:txBody>
      </p:sp>
      <p:sp>
        <p:nvSpPr>
          <p:cNvPr id="4" name="Rectangle 13">
            <a:extLst>
              <a:ext uri="{FF2B5EF4-FFF2-40B4-BE49-F238E27FC236}">
                <a16:creationId xmlns:a16="http://schemas.microsoft.com/office/drawing/2014/main" id="{8F352C24-0884-457D-94DC-798CC042504C}"/>
              </a:ext>
            </a:extLst>
          </p:cNvPr>
          <p:cNvSpPr/>
          <p:nvPr/>
        </p:nvSpPr>
        <p:spPr>
          <a:xfrm>
            <a:off x="2486296" y="2492885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Describe and categorize stories</a:t>
            </a:r>
          </a:p>
        </p:txBody>
      </p:sp>
      <p:sp>
        <p:nvSpPr>
          <p:cNvPr id="6" name="Rectangle 20">
            <a:extLst>
              <a:ext uri="{FF2B5EF4-FFF2-40B4-BE49-F238E27FC236}">
                <a16:creationId xmlns:a16="http://schemas.microsoft.com/office/drawing/2014/main" id="{D73B7739-D916-4AC3-AF69-B6725B93D314}"/>
              </a:ext>
            </a:extLst>
          </p:cNvPr>
          <p:cNvSpPr/>
          <p:nvPr/>
        </p:nvSpPr>
        <p:spPr>
          <a:xfrm>
            <a:off x="883061" y="2492885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Create stories</a:t>
            </a:r>
          </a:p>
        </p:txBody>
      </p:sp>
      <p:sp>
        <p:nvSpPr>
          <p:cNvPr id="7" name="Rectangle 13">
            <a:extLst>
              <a:ext uri="{FF2B5EF4-FFF2-40B4-BE49-F238E27FC236}">
                <a16:creationId xmlns:a16="http://schemas.microsoft.com/office/drawing/2014/main" id="{23AD0492-22EA-4B4E-A664-C63B3ED614DD}"/>
              </a:ext>
            </a:extLst>
          </p:cNvPr>
          <p:cNvSpPr/>
          <p:nvPr/>
        </p:nvSpPr>
        <p:spPr>
          <a:xfrm>
            <a:off x="4109373" y="2492885"/>
            <a:ext cx="1256047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Estimate story sizes</a:t>
            </a:r>
          </a:p>
        </p:txBody>
      </p:sp>
      <p:sp>
        <p:nvSpPr>
          <p:cNvPr id="8" name="Rectangle 13">
            <a:extLst>
              <a:ext uri="{FF2B5EF4-FFF2-40B4-BE49-F238E27FC236}">
                <a16:creationId xmlns:a16="http://schemas.microsoft.com/office/drawing/2014/main" id="{ADB5A570-58D1-4696-8CE7-58BE334E6F1B}"/>
              </a:ext>
            </a:extLst>
          </p:cNvPr>
          <p:cNvSpPr/>
          <p:nvPr/>
        </p:nvSpPr>
        <p:spPr>
          <a:xfrm>
            <a:off x="5741763" y="3515381"/>
            <a:ext cx="1250982" cy="672263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>
                <a:solidFill>
                  <a:srgbClr val="FFFFFF"/>
                </a:solidFill>
              </a:rPr>
              <a:t>Schedule stories into appropriate timebox (e.g., sprint)</a:t>
            </a:r>
          </a:p>
        </p:txBody>
      </p:sp>
      <p:sp>
        <p:nvSpPr>
          <p:cNvPr id="23" name="Rectangle 13">
            <a:extLst>
              <a:ext uri="{FF2B5EF4-FFF2-40B4-BE49-F238E27FC236}">
                <a16:creationId xmlns:a16="http://schemas.microsoft.com/office/drawing/2014/main" id="{7FA82EE5-BC1F-40C1-A76F-AE2467641255}"/>
              </a:ext>
            </a:extLst>
          </p:cNvPr>
          <p:cNvSpPr/>
          <p:nvPr/>
        </p:nvSpPr>
        <p:spPr>
          <a:xfrm>
            <a:off x="5741763" y="2492885"/>
            <a:ext cx="1256049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>
                <a:solidFill>
                  <a:srgbClr val="FFFFFF"/>
                </a:solidFill>
              </a:rPr>
              <a:t>Prioritize story backlog</a:t>
            </a:r>
            <a:endParaRPr lang="en-US" sz="1000"/>
          </a:p>
        </p:txBody>
      </p:sp>
      <p:sp>
        <p:nvSpPr>
          <p:cNvPr id="24" name="Rectangle 13">
            <a:extLst>
              <a:ext uri="{FF2B5EF4-FFF2-40B4-BE49-F238E27FC236}">
                <a16:creationId xmlns:a16="http://schemas.microsoft.com/office/drawing/2014/main" id="{7F6915A2-51FD-4FCF-ADB5-42AAA39E42F2}"/>
              </a:ext>
            </a:extLst>
          </p:cNvPr>
          <p:cNvSpPr/>
          <p:nvPr/>
        </p:nvSpPr>
        <p:spPr>
          <a:xfrm>
            <a:off x="7752415" y="2492885"/>
            <a:ext cx="1245915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>
                <a:solidFill>
                  <a:srgbClr val="FFFFFF"/>
                </a:solidFill>
              </a:rPr>
              <a:t>Deliver stories</a:t>
            </a:r>
            <a:endParaRPr lang="en-US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6BD96783-A8FF-427F-BCA0-EA5686163884}"/>
              </a:ext>
            </a:extLst>
          </p:cNvPr>
          <p:cNvCxnSpPr>
            <a:cxnSpLocks/>
            <a:stCxn id="6" idx="3"/>
            <a:endCxn id="4" idx="1"/>
          </p:cNvCxnSpPr>
          <p:nvPr/>
        </p:nvCxnSpPr>
        <p:spPr>
          <a:xfrm>
            <a:off x="2139109" y="2829016"/>
            <a:ext cx="347187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DDB14979-563B-4540-A061-071459E2A6A8}"/>
              </a:ext>
            </a:extLst>
          </p:cNvPr>
          <p:cNvCxnSpPr>
            <a:cxnSpLocks/>
            <a:stCxn id="23" idx="2"/>
            <a:endCxn id="8" idx="0"/>
          </p:cNvCxnSpPr>
          <p:nvPr/>
        </p:nvCxnSpPr>
        <p:spPr>
          <a:xfrm flipH="1">
            <a:off x="6367254" y="3165147"/>
            <a:ext cx="2534" cy="350234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8" name="Rectangle 47">
            <a:extLst>
              <a:ext uri="{FF2B5EF4-FFF2-40B4-BE49-F238E27FC236}">
                <a16:creationId xmlns:a16="http://schemas.microsoft.com/office/drawing/2014/main" id="{99FC8B24-BB65-490F-B2DA-8C54563A3AE5}"/>
              </a:ext>
            </a:extLst>
          </p:cNvPr>
          <p:cNvSpPr/>
          <p:nvPr/>
        </p:nvSpPr>
        <p:spPr>
          <a:xfrm>
            <a:off x="649502" y="1850829"/>
            <a:ext cx="6516918" cy="2612978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6" name="Rectangle 55">
            <a:extLst>
              <a:ext uri="{FF2B5EF4-FFF2-40B4-BE49-F238E27FC236}">
                <a16:creationId xmlns:a16="http://schemas.microsoft.com/office/drawing/2014/main" id="{4B24D132-BC08-49B7-9717-040031181592}"/>
              </a:ext>
            </a:extLst>
          </p:cNvPr>
          <p:cNvSpPr/>
          <p:nvPr/>
        </p:nvSpPr>
        <p:spPr>
          <a:xfrm>
            <a:off x="883061" y="1971193"/>
            <a:ext cx="2066016" cy="3342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050">
                <a:solidFill>
                  <a:schemeClr val="tx1"/>
                </a:solidFill>
              </a:rPr>
              <a:t>Team Backlog Management</a:t>
            </a:r>
            <a:endParaRPr lang="en-US" sz="1050">
              <a:solidFill>
                <a:schemeClr val="tx1"/>
              </a:solidFill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38D939B-BF44-4E63-AA07-52F8ED3EBF5C}"/>
              </a:ext>
            </a:extLst>
          </p:cNvPr>
          <p:cNvSpPr/>
          <p:nvPr/>
        </p:nvSpPr>
        <p:spPr>
          <a:xfrm>
            <a:off x="7740979" y="1962148"/>
            <a:ext cx="1283611" cy="3342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050">
                <a:solidFill>
                  <a:schemeClr val="tx1"/>
                </a:solidFill>
              </a:rPr>
              <a:t>Team Execution</a:t>
            </a:r>
            <a:endParaRPr lang="en-US" sz="1050">
              <a:solidFill>
                <a:schemeClr val="tx1"/>
              </a:solidFill>
            </a:endParaRPr>
          </a:p>
        </p:txBody>
      </p: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3E7E2935-5654-4D23-9BDD-4B3D2D2A5244}"/>
              </a:ext>
            </a:extLst>
          </p:cNvPr>
          <p:cNvCxnSpPr>
            <a:cxnSpLocks/>
          </p:cNvCxnSpPr>
          <p:nvPr/>
        </p:nvCxnSpPr>
        <p:spPr>
          <a:xfrm>
            <a:off x="9259522" y="-721820"/>
            <a:ext cx="57029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3" name="Rectangle 52">
            <a:extLst>
              <a:ext uri="{FF2B5EF4-FFF2-40B4-BE49-F238E27FC236}">
                <a16:creationId xmlns:a16="http://schemas.microsoft.com/office/drawing/2014/main" id="{E1EF575C-ACF9-4158-832A-169FAA5E804D}"/>
              </a:ext>
            </a:extLst>
          </p:cNvPr>
          <p:cNvSpPr/>
          <p:nvPr/>
        </p:nvSpPr>
        <p:spPr>
          <a:xfrm>
            <a:off x="5684966" y="1263240"/>
            <a:ext cx="1308932" cy="374792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>
                <a:lumMod val="90000"/>
                <a:lumOff val="1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Program Backlog Management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35" name="Rectangle 13">
            <a:extLst>
              <a:ext uri="{FF2B5EF4-FFF2-40B4-BE49-F238E27FC236}">
                <a16:creationId xmlns:a16="http://schemas.microsoft.com/office/drawing/2014/main" id="{4E47E0DD-4D07-49C4-9FFC-75BBD55D4191}"/>
              </a:ext>
            </a:extLst>
          </p:cNvPr>
          <p:cNvSpPr/>
          <p:nvPr/>
        </p:nvSpPr>
        <p:spPr>
          <a:xfrm>
            <a:off x="7742282" y="3517912"/>
            <a:ext cx="1256048" cy="66720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Assign stories to relevant team members</a:t>
            </a:r>
            <a:endParaRPr lang="en-US" dirty="0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610B22DF-6FA2-4F1A-BAFF-6405A43F5FB3}"/>
              </a:ext>
            </a:extLst>
          </p:cNvPr>
          <p:cNvSpPr/>
          <p:nvPr/>
        </p:nvSpPr>
        <p:spPr>
          <a:xfrm>
            <a:off x="9757594" y="1985378"/>
            <a:ext cx="1796821" cy="3342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Cross-Team Coordination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57" name="Rectangle 13">
            <a:extLst>
              <a:ext uri="{FF2B5EF4-FFF2-40B4-BE49-F238E27FC236}">
                <a16:creationId xmlns:a16="http://schemas.microsoft.com/office/drawing/2014/main" id="{16F89592-0CC1-416D-BC9E-9EE1CBFDC483}"/>
              </a:ext>
            </a:extLst>
          </p:cNvPr>
          <p:cNvSpPr/>
          <p:nvPr/>
        </p:nvSpPr>
        <p:spPr>
          <a:xfrm>
            <a:off x="10052891" y="3056874"/>
            <a:ext cx="1256048" cy="66973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>
                <a:solidFill>
                  <a:srgbClr val="FFFFFF"/>
                </a:solidFill>
              </a:rPr>
              <a:t>Deliver cross-team dependencies</a:t>
            </a:r>
            <a:endParaRPr lang="en-US"/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DD9EE94F-588A-4510-87A2-1D876108C9D0}"/>
              </a:ext>
            </a:extLst>
          </p:cNvPr>
          <p:cNvCxnSpPr>
            <a:cxnSpLocks/>
            <a:stCxn id="35" idx="0"/>
            <a:endCxn id="24" idx="2"/>
          </p:cNvCxnSpPr>
          <p:nvPr/>
        </p:nvCxnSpPr>
        <p:spPr>
          <a:xfrm flipV="1">
            <a:off x="8370306" y="3165147"/>
            <a:ext cx="5067" cy="352765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0F38BCFB-946A-462A-8063-23921050413B}"/>
              </a:ext>
            </a:extLst>
          </p:cNvPr>
          <p:cNvCxnSpPr>
            <a:cxnSpLocks/>
            <a:stCxn id="4" idx="3"/>
            <a:endCxn id="7" idx="1"/>
          </p:cNvCxnSpPr>
          <p:nvPr/>
        </p:nvCxnSpPr>
        <p:spPr>
          <a:xfrm>
            <a:off x="3742344" y="2829016"/>
            <a:ext cx="36702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56B28870-2FC9-4FED-B6BE-7FB44B577484}"/>
              </a:ext>
            </a:extLst>
          </p:cNvPr>
          <p:cNvCxnSpPr>
            <a:cxnSpLocks/>
            <a:stCxn id="7" idx="3"/>
            <a:endCxn id="23" idx="1"/>
          </p:cNvCxnSpPr>
          <p:nvPr/>
        </p:nvCxnSpPr>
        <p:spPr>
          <a:xfrm>
            <a:off x="5365420" y="2829016"/>
            <a:ext cx="37634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3A7BAACC-A16F-4932-A3E7-C8DE49FA5305}"/>
              </a:ext>
            </a:extLst>
          </p:cNvPr>
          <p:cNvCxnSpPr>
            <a:cxnSpLocks/>
            <a:stCxn id="8" idx="3"/>
            <a:endCxn id="35" idx="1"/>
          </p:cNvCxnSpPr>
          <p:nvPr/>
        </p:nvCxnSpPr>
        <p:spPr>
          <a:xfrm>
            <a:off x="6992745" y="3851513"/>
            <a:ext cx="749537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30434D20-815B-45EA-B746-D1EAC3482ADA}"/>
              </a:ext>
            </a:extLst>
          </p:cNvPr>
          <p:cNvCxnSpPr>
            <a:stCxn id="35" idx="3"/>
            <a:endCxn id="57" idx="2"/>
          </p:cNvCxnSpPr>
          <p:nvPr/>
        </p:nvCxnSpPr>
        <p:spPr>
          <a:xfrm flipV="1">
            <a:off x="8998330" y="3726606"/>
            <a:ext cx="1682585" cy="124907"/>
          </a:xfrm>
          <a:prstGeom prst="bentConnector2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7D4874B7-0DCE-4184-B0FE-3EF7D12DE1E3}"/>
              </a:ext>
            </a:extLst>
          </p:cNvPr>
          <p:cNvCxnSpPr>
            <a:cxnSpLocks/>
            <a:stCxn id="57" idx="0"/>
          </p:cNvCxnSpPr>
          <p:nvPr/>
        </p:nvCxnSpPr>
        <p:spPr>
          <a:xfrm rot="16200000" flipV="1">
            <a:off x="9804056" y="2180015"/>
            <a:ext cx="76200" cy="1677518"/>
          </a:xfrm>
          <a:prstGeom prst="bentConnector2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A30BA4A4-3BAD-4E73-BD0C-440BC6899DB3}"/>
              </a:ext>
            </a:extLst>
          </p:cNvPr>
          <p:cNvSpPr/>
          <p:nvPr/>
        </p:nvSpPr>
        <p:spPr>
          <a:xfrm>
            <a:off x="4315663" y="4813821"/>
            <a:ext cx="1775993" cy="3342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Team OKRs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D626321-B238-4A33-A0B1-E6B6E28517DD}"/>
              </a:ext>
            </a:extLst>
          </p:cNvPr>
          <p:cNvSpPr/>
          <p:nvPr/>
        </p:nvSpPr>
        <p:spPr>
          <a:xfrm>
            <a:off x="2261940" y="4699011"/>
            <a:ext cx="5883439" cy="1416706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4" name="Rectangle 20">
            <a:extLst>
              <a:ext uri="{FF2B5EF4-FFF2-40B4-BE49-F238E27FC236}">
                <a16:creationId xmlns:a16="http://schemas.microsoft.com/office/drawing/2014/main" id="{86F3F656-8F6E-48F1-8BEB-BBB4C0295F43}"/>
              </a:ext>
            </a:extLst>
          </p:cNvPr>
          <p:cNvSpPr/>
          <p:nvPr/>
        </p:nvSpPr>
        <p:spPr>
          <a:xfrm>
            <a:off x="2484386" y="5274477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Create and define objectives</a:t>
            </a:r>
          </a:p>
        </p:txBody>
      </p:sp>
      <p:sp>
        <p:nvSpPr>
          <p:cNvPr id="61" name="Rectangle 20">
            <a:extLst>
              <a:ext uri="{FF2B5EF4-FFF2-40B4-BE49-F238E27FC236}">
                <a16:creationId xmlns:a16="http://schemas.microsoft.com/office/drawing/2014/main" id="{AFE03109-4018-4467-849B-D30EC70ED927}"/>
              </a:ext>
            </a:extLst>
          </p:cNvPr>
          <p:cNvSpPr/>
          <p:nvPr/>
        </p:nvSpPr>
        <p:spPr>
          <a:xfrm>
            <a:off x="4575635" y="5274477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Define current and target metrics (key results) for objectives</a:t>
            </a:r>
          </a:p>
        </p:txBody>
      </p:sp>
      <p:sp>
        <p:nvSpPr>
          <p:cNvPr id="62" name="Rectangle 20">
            <a:extLst>
              <a:ext uri="{FF2B5EF4-FFF2-40B4-BE49-F238E27FC236}">
                <a16:creationId xmlns:a16="http://schemas.microsoft.com/office/drawing/2014/main" id="{EDF4D85C-E7AD-4908-BB56-9137281A6D9C}"/>
              </a:ext>
            </a:extLst>
          </p:cNvPr>
          <p:cNvSpPr/>
          <p:nvPr/>
        </p:nvSpPr>
        <p:spPr>
          <a:xfrm>
            <a:off x="6682306" y="5274477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Monitor progress through key results</a:t>
            </a: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1B1F8B5E-0FD1-42DA-8F9C-2A6D0CB12C63}"/>
              </a:ext>
            </a:extLst>
          </p:cNvPr>
          <p:cNvCxnSpPr>
            <a:cxnSpLocks/>
            <a:stCxn id="54" idx="3"/>
            <a:endCxn id="61" idx="1"/>
          </p:cNvCxnSpPr>
          <p:nvPr/>
        </p:nvCxnSpPr>
        <p:spPr>
          <a:xfrm>
            <a:off x="3740434" y="5610608"/>
            <a:ext cx="835201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D4CDBA95-8B26-466E-8255-27A702EA78B7}"/>
              </a:ext>
            </a:extLst>
          </p:cNvPr>
          <p:cNvCxnSpPr>
            <a:stCxn id="61" idx="3"/>
            <a:endCxn id="62" idx="1"/>
          </p:cNvCxnSpPr>
          <p:nvPr/>
        </p:nvCxnSpPr>
        <p:spPr>
          <a:xfrm>
            <a:off x="5831683" y="5610608"/>
            <a:ext cx="850623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7AFC4F66-C461-4565-BCDB-8969FC4F3278}"/>
              </a:ext>
            </a:extLst>
          </p:cNvPr>
          <p:cNvCxnSpPr>
            <a:stCxn id="4" idx="2"/>
            <a:endCxn id="54" idx="0"/>
          </p:cNvCxnSpPr>
          <p:nvPr/>
        </p:nvCxnSpPr>
        <p:spPr>
          <a:xfrm rot="5400000">
            <a:off x="2058700" y="4218857"/>
            <a:ext cx="2109330" cy="1910"/>
          </a:xfrm>
          <a:prstGeom prst="bentConnector3">
            <a:avLst/>
          </a:prstGeom>
          <a:ln w="12700"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91E60701-05F5-4B7A-BC71-AABE62F95385}"/>
              </a:ext>
            </a:extLst>
          </p:cNvPr>
          <p:cNvCxnSpPr>
            <a:cxnSpLocks/>
            <a:stCxn id="24" idx="1"/>
            <a:endCxn id="62" idx="0"/>
          </p:cNvCxnSpPr>
          <p:nvPr/>
        </p:nvCxnSpPr>
        <p:spPr>
          <a:xfrm rot="10800000" flipV="1">
            <a:off x="7310331" y="2829015"/>
            <a:ext cx="442085" cy="2445461"/>
          </a:xfrm>
          <a:prstGeom prst="bentConnector2">
            <a:avLst/>
          </a:prstGeom>
          <a:ln w="12700"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373000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Rectangle 47">
            <a:extLst>
              <a:ext uri="{FF2B5EF4-FFF2-40B4-BE49-F238E27FC236}">
                <a16:creationId xmlns:a16="http://schemas.microsoft.com/office/drawing/2014/main" id="{99FC8B24-BB65-490F-B2DA-8C54563A3AE5}"/>
              </a:ext>
            </a:extLst>
          </p:cNvPr>
          <p:cNvSpPr/>
          <p:nvPr/>
        </p:nvSpPr>
        <p:spPr>
          <a:xfrm>
            <a:off x="649502" y="1850829"/>
            <a:ext cx="6516918" cy="2612978"/>
          </a:xfrm>
          <a:prstGeom prst="rect">
            <a:avLst/>
          </a:prstGeom>
          <a:solidFill>
            <a:srgbClr val="12D6E0">
              <a:alpha val="25000"/>
            </a:srgbClr>
          </a:solidFill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CD626321-B238-4A33-A0B1-E6B6E28517DD}"/>
              </a:ext>
            </a:extLst>
          </p:cNvPr>
          <p:cNvSpPr/>
          <p:nvPr/>
        </p:nvSpPr>
        <p:spPr>
          <a:xfrm>
            <a:off x="2261940" y="4699011"/>
            <a:ext cx="5883439" cy="1416706"/>
          </a:xfrm>
          <a:prstGeom prst="rect">
            <a:avLst/>
          </a:prstGeom>
          <a:solidFill>
            <a:srgbClr val="12D6E0">
              <a:alpha val="25000"/>
            </a:srgbClr>
          </a:solidFill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60" name="Connector: Elbow 21">
            <a:extLst>
              <a:ext uri="{FF2B5EF4-FFF2-40B4-BE49-F238E27FC236}">
                <a16:creationId xmlns:a16="http://schemas.microsoft.com/office/drawing/2014/main" id="{F6220563-CCE0-4636-9323-09F4DF803C29}"/>
              </a:ext>
            </a:extLst>
          </p:cNvPr>
          <p:cNvCxnSpPr>
            <a:cxnSpLocks/>
            <a:stCxn id="24" idx="3"/>
            <a:endCxn id="53" idx="3"/>
          </p:cNvCxnSpPr>
          <p:nvPr/>
        </p:nvCxnSpPr>
        <p:spPr>
          <a:xfrm flipH="1" flipV="1">
            <a:off x="6993898" y="1450636"/>
            <a:ext cx="2004432" cy="1378380"/>
          </a:xfrm>
          <a:prstGeom prst="bentConnector3">
            <a:avLst>
              <a:gd name="adj1" fmla="val -19983"/>
            </a:avLst>
          </a:prstGeom>
          <a:ln w="190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nector: Elbow 21">
            <a:extLst>
              <a:ext uri="{FF2B5EF4-FFF2-40B4-BE49-F238E27FC236}">
                <a16:creationId xmlns:a16="http://schemas.microsoft.com/office/drawing/2014/main" id="{08982A85-D470-4646-9A82-215EC246A221}"/>
              </a:ext>
            </a:extLst>
          </p:cNvPr>
          <p:cNvCxnSpPr>
            <a:cxnSpLocks/>
            <a:endCxn id="6" idx="1"/>
          </p:cNvCxnSpPr>
          <p:nvPr/>
        </p:nvCxnSpPr>
        <p:spPr>
          <a:xfrm rot="10800000" flipV="1">
            <a:off x="883062" y="1476036"/>
            <a:ext cx="4810377" cy="1352980"/>
          </a:xfrm>
          <a:prstGeom prst="bentConnector3">
            <a:avLst>
              <a:gd name="adj1" fmla="val 110276"/>
            </a:avLst>
          </a:prstGeom>
          <a:ln w="190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itle 2">
            <a:extLst>
              <a:ext uri="{FF2B5EF4-FFF2-40B4-BE49-F238E27FC236}">
                <a16:creationId xmlns:a16="http://schemas.microsoft.com/office/drawing/2014/main" id="{17B24AB2-215A-4F09-8326-CB4A495BD6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392" y="72776"/>
            <a:ext cx="11253216" cy="699516"/>
          </a:xfrm>
        </p:spPr>
        <p:txBody>
          <a:bodyPr/>
          <a:lstStyle/>
          <a:p>
            <a:r>
              <a:rPr lang="en-GB" sz="2800" dirty="0"/>
              <a:t>Team Backlog Management &gt; Team Execution + Cross-Team Coordination : Agile Team Planning</a:t>
            </a:r>
            <a:endParaRPr lang="en-US" sz="2800" dirty="0"/>
          </a:p>
        </p:txBody>
      </p:sp>
      <p:sp>
        <p:nvSpPr>
          <p:cNvPr id="4" name="Rectangle 13">
            <a:extLst>
              <a:ext uri="{FF2B5EF4-FFF2-40B4-BE49-F238E27FC236}">
                <a16:creationId xmlns:a16="http://schemas.microsoft.com/office/drawing/2014/main" id="{8F352C24-0884-457D-94DC-798CC042504C}"/>
              </a:ext>
            </a:extLst>
          </p:cNvPr>
          <p:cNvSpPr/>
          <p:nvPr/>
        </p:nvSpPr>
        <p:spPr>
          <a:xfrm>
            <a:off x="2486296" y="2492885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Describe and categorize stories</a:t>
            </a:r>
          </a:p>
        </p:txBody>
      </p:sp>
      <p:sp>
        <p:nvSpPr>
          <p:cNvPr id="6" name="Rectangle 20">
            <a:extLst>
              <a:ext uri="{FF2B5EF4-FFF2-40B4-BE49-F238E27FC236}">
                <a16:creationId xmlns:a16="http://schemas.microsoft.com/office/drawing/2014/main" id="{D73B7739-D916-4AC3-AF69-B6725B93D314}"/>
              </a:ext>
            </a:extLst>
          </p:cNvPr>
          <p:cNvSpPr/>
          <p:nvPr/>
        </p:nvSpPr>
        <p:spPr>
          <a:xfrm>
            <a:off x="883061" y="2492885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Create stories</a:t>
            </a:r>
          </a:p>
        </p:txBody>
      </p:sp>
      <p:sp>
        <p:nvSpPr>
          <p:cNvPr id="7" name="Rectangle 13">
            <a:extLst>
              <a:ext uri="{FF2B5EF4-FFF2-40B4-BE49-F238E27FC236}">
                <a16:creationId xmlns:a16="http://schemas.microsoft.com/office/drawing/2014/main" id="{23AD0492-22EA-4B4E-A664-C63B3ED614DD}"/>
              </a:ext>
            </a:extLst>
          </p:cNvPr>
          <p:cNvSpPr/>
          <p:nvPr/>
        </p:nvSpPr>
        <p:spPr>
          <a:xfrm>
            <a:off x="4109373" y="2492885"/>
            <a:ext cx="1256047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Estimate story sizes</a:t>
            </a:r>
          </a:p>
        </p:txBody>
      </p:sp>
      <p:sp>
        <p:nvSpPr>
          <p:cNvPr id="8" name="Rectangle 13">
            <a:extLst>
              <a:ext uri="{FF2B5EF4-FFF2-40B4-BE49-F238E27FC236}">
                <a16:creationId xmlns:a16="http://schemas.microsoft.com/office/drawing/2014/main" id="{ADB5A570-58D1-4696-8CE7-58BE334E6F1B}"/>
              </a:ext>
            </a:extLst>
          </p:cNvPr>
          <p:cNvSpPr/>
          <p:nvPr/>
        </p:nvSpPr>
        <p:spPr>
          <a:xfrm>
            <a:off x="5741763" y="3515381"/>
            <a:ext cx="1250982" cy="672263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>
                <a:solidFill>
                  <a:srgbClr val="FFFFFF"/>
                </a:solidFill>
              </a:rPr>
              <a:t>Schedule stories into appropriate timebox (e.g., sprint)</a:t>
            </a:r>
          </a:p>
        </p:txBody>
      </p:sp>
      <p:sp>
        <p:nvSpPr>
          <p:cNvPr id="23" name="Rectangle 13">
            <a:extLst>
              <a:ext uri="{FF2B5EF4-FFF2-40B4-BE49-F238E27FC236}">
                <a16:creationId xmlns:a16="http://schemas.microsoft.com/office/drawing/2014/main" id="{7FA82EE5-BC1F-40C1-A76F-AE2467641255}"/>
              </a:ext>
            </a:extLst>
          </p:cNvPr>
          <p:cNvSpPr/>
          <p:nvPr/>
        </p:nvSpPr>
        <p:spPr>
          <a:xfrm>
            <a:off x="5741763" y="2492885"/>
            <a:ext cx="1256049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>
                <a:solidFill>
                  <a:srgbClr val="FFFFFF"/>
                </a:solidFill>
              </a:rPr>
              <a:t>Prioritize story backlog</a:t>
            </a:r>
            <a:endParaRPr lang="en-US" sz="1000"/>
          </a:p>
        </p:txBody>
      </p:sp>
      <p:sp>
        <p:nvSpPr>
          <p:cNvPr id="24" name="Rectangle 13">
            <a:extLst>
              <a:ext uri="{FF2B5EF4-FFF2-40B4-BE49-F238E27FC236}">
                <a16:creationId xmlns:a16="http://schemas.microsoft.com/office/drawing/2014/main" id="{7F6915A2-51FD-4FCF-ADB5-42AAA39E42F2}"/>
              </a:ext>
            </a:extLst>
          </p:cNvPr>
          <p:cNvSpPr/>
          <p:nvPr/>
        </p:nvSpPr>
        <p:spPr>
          <a:xfrm>
            <a:off x="7752415" y="2492885"/>
            <a:ext cx="1245915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>
                <a:solidFill>
                  <a:srgbClr val="FFFFFF"/>
                </a:solidFill>
              </a:rPr>
              <a:t>Deliver stories</a:t>
            </a:r>
            <a:endParaRPr lang="en-US"/>
          </a:p>
        </p:txBody>
      </p:sp>
      <p:cxnSp>
        <p:nvCxnSpPr>
          <p:cNvPr id="26" name="Straight Arrow Connector 25">
            <a:extLst>
              <a:ext uri="{FF2B5EF4-FFF2-40B4-BE49-F238E27FC236}">
                <a16:creationId xmlns:a16="http://schemas.microsoft.com/office/drawing/2014/main" id="{6BD96783-A8FF-427F-BCA0-EA5686163884}"/>
              </a:ext>
            </a:extLst>
          </p:cNvPr>
          <p:cNvCxnSpPr>
            <a:cxnSpLocks/>
            <a:stCxn id="6" idx="3"/>
            <a:endCxn id="4" idx="1"/>
          </p:cNvCxnSpPr>
          <p:nvPr/>
        </p:nvCxnSpPr>
        <p:spPr>
          <a:xfrm>
            <a:off x="2139109" y="2829016"/>
            <a:ext cx="347187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2" name="Straight Arrow Connector 41">
            <a:extLst>
              <a:ext uri="{FF2B5EF4-FFF2-40B4-BE49-F238E27FC236}">
                <a16:creationId xmlns:a16="http://schemas.microsoft.com/office/drawing/2014/main" id="{DDB14979-563B-4540-A061-071459E2A6A8}"/>
              </a:ext>
            </a:extLst>
          </p:cNvPr>
          <p:cNvCxnSpPr>
            <a:cxnSpLocks/>
            <a:stCxn id="23" idx="2"/>
            <a:endCxn id="8" idx="0"/>
          </p:cNvCxnSpPr>
          <p:nvPr/>
        </p:nvCxnSpPr>
        <p:spPr>
          <a:xfrm flipH="1">
            <a:off x="6367254" y="3165147"/>
            <a:ext cx="2534" cy="350234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4B24D132-BC08-49B7-9717-040031181592}"/>
              </a:ext>
            </a:extLst>
          </p:cNvPr>
          <p:cNvSpPr/>
          <p:nvPr/>
        </p:nvSpPr>
        <p:spPr>
          <a:xfrm>
            <a:off x="883061" y="1971193"/>
            <a:ext cx="2066016" cy="3342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050">
                <a:solidFill>
                  <a:schemeClr val="tx1"/>
                </a:solidFill>
              </a:rPr>
              <a:t>Team Backlog Management</a:t>
            </a:r>
            <a:endParaRPr lang="en-US" sz="1050">
              <a:solidFill>
                <a:schemeClr val="tx1"/>
              </a:solidFill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0C95ED92-3233-4293-B2BE-4ED8449DDECD}"/>
              </a:ext>
            </a:extLst>
          </p:cNvPr>
          <p:cNvSpPr/>
          <p:nvPr/>
        </p:nvSpPr>
        <p:spPr>
          <a:xfrm>
            <a:off x="7508637" y="1850830"/>
            <a:ext cx="1704491" cy="2612978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38D939B-BF44-4E63-AA07-52F8ED3EBF5C}"/>
              </a:ext>
            </a:extLst>
          </p:cNvPr>
          <p:cNvSpPr/>
          <p:nvPr/>
        </p:nvSpPr>
        <p:spPr>
          <a:xfrm>
            <a:off x="7740979" y="1962148"/>
            <a:ext cx="1283611" cy="3342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050">
                <a:solidFill>
                  <a:schemeClr val="tx1"/>
                </a:solidFill>
              </a:rPr>
              <a:t>Team Execution</a:t>
            </a:r>
            <a:endParaRPr lang="en-US" sz="1050">
              <a:solidFill>
                <a:schemeClr val="tx1"/>
              </a:solidFill>
            </a:endParaRPr>
          </a:p>
        </p:txBody>
      </p:sp>
      <p:cxnSp>
        <p:nvCxnSpPr>
          <p:cNvPr id="52" name="Straight Arrow Connector 51">
            <a:extLst>
              <a:ext uri="{FF2B5EF4-FFF2-40B4-BE49-F238E27FC236}">
                <a16:creationId xmlns:a16="http://schemas.microsoft.com/office/drawing/2014/main" id="{3E7E2935-5654-4D23-9BDD-4B3D2D2A5244}"/>
              </a:ext>
            </a:extLst>
          </p:cNvPr>
          <p:cNvCxnSpPr>
            <a:cxnSpLocks/>
          </p:cNvCxnSpPr>
          <p:nvPr/>
        </p:nvCxnSpPr>
        <p:spPr>
          <a:xfrm>
            <a:off x="9259522" y="-721820"/>
            <a:ext cx="57029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3" name="Rectangle 52">
            <a:extLst>
              <a:ext uri="{FF2B5EF4-FFF2-40B4-BE49-F238E27FC236}">
                <a16:creationId xmlns:a16="http://schemas.microsoft.com/office/drawing/2014/main" id="{E1EF575C-ACF9-4158-832A-169FAA5E804D}"/>
              </a:ext>
            </a:extLst>
          </p:cNvPr>
          <p:cNvSpPr/>
          <p:nvPr/>
        </p:nvSpPr>
        <p:spPr>
          <a:xfrm>
            <a:off x="5684966" y="1263240"/>
            <a:ext cx="1308932" cy="374792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>
                <a:lumMod val="90000"/>
                <a:lumOff val="1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Program Backlog Management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35" name="Rectangle 13">
            <a:extLst>
              <a:ext uri="{FF2B5EF4-FFF2-40B4-BE49-F238E27FC236}">
                <a16:creationId xmlns:a16="http://schemas.microsoft.com/office/drawing/2014/main" id="{4E47E0DD-4D07-49C4-9FFC-75BBD55D4191}"/>
              </a:ext>
            </a:extLst>
          </p:cNvPr>
          <p:cNvSpPr/>
          <p:nvPr/>
        </p:nvSpPr>
        <p:spPr>
          <a:xfrm>
            <a:off x="7742282" y="3517912"/>
            <a:ext cx="1256048" cy="66720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Assign stories to relevant team members</a:t>
            </a:r>
            <a:endParaRPr lang="en-US" dirty="0"/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B920A64-4A7A-4CA1-AF61-8D7BACB2B481}"/>
              </a:ext>
            </a:extLst>
          </p:cNvPr>
          <p:cNvSpPr/>
          <p:nvPr/>
        </p:nvSpPr>
        <p:spPr>
          <a:xfrm>
            <a:off x="9628480" y="1850829"/>
            <a:ext cx="2055051" cy="2612978"/>
          </a:xfrm>
          <a:prstGeom prst="rect">
            <a:avLst/>
          </a:prstGeom>
          <a:noFill/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610B22DF-6FA2-4F1A-BAFF-6405A43F5FB3}"/>
              </a:ext>
            </a:extLst>
          </p:cNvPr>
          <p:cNvSpPr/>
          <p:nvPr/>
        </p:nvSpPr>
        <p:spPr>
          <a:xfrm>
            <a:off x="9757594" y="1985378"/>
            <a:ext cx="1796821" cy="3342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en-GB" sz="1050">
                <a:solidFill>
                  <a:schemeClr val="tx1"/>
                </a:solidFill>
              </a:rPr>
              <a:t>Cross-Team Coordination</a:t>
            </a:r>
            <a:endParaRPr lang="en-US" sz="1050">
              <a:solidFill>
                <a:schemeClr val="tx1"/>
              </a:solidFill>
            </a:endParaRPr>
          </a:p>
        </p:txBody>
      </p:sp>
      <p:sp>
        <p:nvSpPr>
          <p:cNvPr id="57" name="Rectangle 13">
            <a:extLst>
              <a:ext uri="{FF2B5EF4-FFF2-40B4-BE49-F238E27FC236}">
                <a16:creationId xmlns:a16="http://schemas.microsoft.com/office/drawing/2014/main" id="{16F89592-0CC1-416D-BC9E-9EE1CBFDC483}"/>
              </a:ext>
            </a:extLst>
          </p:cNvPr>
          <p:cNvSpPr/>
          <p:nvPr/>
        </p:nvSpPr>
        <p:spPr>
          <a:xfrm>
            <a:off x="10052891" y="3056874"/>
            <a:ext cx="1256048" cy="66973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>
                <a:solidFill>
                  <a:srgbClr val="FFFFFF"/>
                </a:solidFill>
              </a:rPr>
              <a:t>Deliver cross-team dependencies</a:t>
            </a:r>
            <a:endParaRPr lang="en-US"/>
          </a:p>
        </p:txBody>
      </p:sp>
      <p:cxnSp>
        <p:nvCxnSpPr>
          <p:cNvPr id="58" name="Straight Arrow Connector 57">
            <a:extLst>
              <a:ext uri="{FF2B5EF4-FFF2-40B4-BE49-F238E27FC236}">
                <a16:creationId xmlns:a16="http://schemas.microsoft.com/office/drawing/2014/main" id="{DD9EE94F-588A-4510-87A2-1D876108C9D0}"/>
              </a:ext>
            </a:extLst>
          </p:cNvPr>
          <p:cNvCxnSpPr>
            <a:cxnSpLocks/>
            <a:stCxn id="35" idx="0"/>
            <a:endCxn id="24" idx="2"/>
          </p:cNvCxnSpPr>
          <p:nvPr/>
        </p:nvCxnSpPr>
        <p:spPr>
          <a:xfrm flipV="1">
            <a:off x="8370306" y="3165147"/>
            <a:ext cx="5067" cy="352765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36">
            <a:extLst>
              <a:ext uri="{FF2B5EF4-FFF2-40B4-BE49-F238E27FC236}">
                <a16:creationId xmlns:a16="http://schemas.microsoft.com/office/drawing/2014/main" id="{0F38BCFB-946A-462A-8063-23921050413B}"/>
              </a:ext>
            </a:extLst>
          </p:cNvPr>
          <p:cNvCxnSpPr>
            <a:cxnSpLocks/>
            <a:stCxn id="4" idx="3"/>
            <a:endCxn id="7" idx="1"/>
          </p:cNvCxnSpPr>
          <p:nvPr/>
        </p:nvCxnSpPr>
        <p:spPr>
          <a:xfrm>
            <a:off x="3742344" y="2829016"/>
            <a:ext cx="367029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0" name="Straight Arrow Connector 39">
            <a:extLst>
              <a:ext uri="{FF2B5EF4-FFF2-40B4-BE49-F238E27FC236}">
                <a16:creationId xmlns:a16="http://schemas.microsoft.com/office/drawing/2014/main" id="{56B28870-2FC9-4FED-B6BE-7FB44B577484}"/>
              </a:ext>
            </a:extLst>
          </p:cNvPr>
          <p:cNvCxnSpPr>
            <a:cxnSpLocks/>
            <a:stCxn id="7" idx="3"/>
            <a:endCxn id="23" idx="1"/>
          </p:cNvCxnSpPr>
          <p:nvPr/>
        </p:nvCxnSpPr>
        <p:spPr>
          <a:xfrm>
            <a:off x="5365420" y="2829016"/>
            <a:ext cx="376343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3" name="Straight Arrow Connector 42">
            <a:extLst>
              <a:ext uri="{FF2B5EF4-FFF2-40B4-BE49-F238E27FC236}">
                <a16:creationId xmlns:a16="http://schemas.microsoft.com/office/drawing/2014/main" id="{3A7BAACC-A16F-4932-A3E7-C8DE49FA5305}"/>
              </a:ext>
            </a:extLst>
          </p:cNvPr>
          <p:cNvCxnSpPr>
            <a:cxnSpLocks/>
            <a:stCxn id="8" idx="3"/>
            <a:endCxn id="35" idx="1"/>
          </p:cNvCxnSpPr>
          <p:nvPr/>
        </p:nvCxnSpPr>
        <p:spPr>
          <a:xfrm>
            <a:off x="6992745" y="3851513"/>
            <a:ext cx="749537" cy="0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1" name="Connector: Elbow 20">
            <a:extLst>
              <a:ext uri="{FF2B5EF4-FFF2-40B4-BE49-F238E27FC236}">
                <a16:creationId xmlns:a16="http://schemas.microsoft.com/office/drawing/2014/main" id="{30434D20-815B-45EA-B746-D1EAC3482ADA}"/>
              </a:ext>
            </a:extLst>
          </p:cNvPr>
          <p:cNvCxnSpPr>
            <a:stCxn id="35" idx="3"/>
            <a:endCxn id="57" idx="2"/>
          </p:cNvCxnSpPr>
          <p:nvPr/>
        </p:nvCxnSpPr>
        <p:spPr>
          <a:xfrm flipV="1">
            <a:off x="8998330" y="3726606"/>
            <a:ext cx="1682585" cy="124907"/>
          </a:xfrm>
          <a:prstGeom prst="bentConnector2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Connector: Elbow 49">
            <a:extLst>
              <a:ext uri="{FF2B5EF4-FFF2-40B4-BE49-F238E27FC236}">
                <a16:creationId xmlns:a16="http://schemas.microsoft.com/office/drawing/2014/main" id="{7D4874B7-0DCE-4184-B0FE-3EF7D12DE1E3}"/>
              </a:ext>
            </a:extLst>
          </p:cNvPr>
          <p:cNvCxnSpPr>
            <a:cxnSpLocks/>
            <a:stCxn id="57" idx="0"/>
          </p:cNvCxnSpPr>
          <p:nvPr/>
        </p:nvCxnSpPr>
        <p:spPr>
          <a:xfrm rot="16200000" flipV="1">
            <a:off x="9804056" y="2180015"/>
            <a:ext cx="76200" cy="1677518"/>
          </a:xfrm>
          <a:prstGeom prst="bentConnector2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5" name="Rectangle 44">
            <a:extLst>
              <a:ext uri="{FF2B5EF4-FFF2-40B4-BE49-F238E27FC236}">
                <a16:creationId xmlns:a16="http://schemas.microsoft.com/office/drawing/2014/main" id="{A30BA4A4-3BAD-4E73-BD0C-440BC6899DB3}"/>
              </a:ext>
            </a:extLst>
          </p:cNvPr>
          <p:cNvSpPr/>
          <p:nvPr/>
        </p:nvSpPr>
        <p:spPr>
          <a:xfrm>
            <a:off x="4315663" y="4813821"/>
            <a:ext cx="1775993" cy="3342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Team OKRs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54" name="Rectangle 20">
            <a:extLst>
              <a:ext uri="{FF2B5EF4-FFF2-40B4-BE49-F238E27FC236}">
                <a16:creationId xmlns:a16="http://schemas.microsoft.com/office/drawing/2014/main" id="{86F3F656-8F6E-48F1-8BEB-BBB4C0295F43}"/>
              </a:ext>
            </a:extLst>
          </p:cNvPr>
          <p:cNvSpPr/>
          <p:nvPr/>
        </p:nvSpPr>
        <p:spPr>
          <a:xfrm>
            <a:off x="2484386" y="5274477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Create and define objectives</a:t>
            </a:r>
          </a:p>
        </p:txBody>
      </p:sp>
      <p:sp>
        <p:nvSpPr>
          <p:cNvPr id="61" name="Rectangle 20">
            <a:extLst>
              <a:ext uri="{FF2B5EF4-FFF2-40B4-BE49-F238E27FC236}">
                <a16:creationId xmlns:a16="http://schemas.microsoft.com/office/drawing/2014/main" id="{AFE03109-4018-4467-849B-D30EC70ED927}"/>
              </a:ext>
            </a:extLst>
          </p:cNvPr>
          <p:cNvSpPr/>
          <p:nvPr/>
        </p:nvSpPr>
        <p:spPr>
          <a:xfrm>
            <a:off x="4575635" y="5274477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Define current and target metrics (key results) for objectives</a:t>
            </a:r>
          </a:p>
        </p:txBody>
      </p:sp>
      <p:sp>
        <p:nvSpPr>
          <p:cNvPr id="62" name="Rectangle 20">
            <a:extLst>
              <a:ext uri="{FF2B5EF4-FFF2-40B4-BE49-F238E27FC236}">
                <a16:creationId xmlns:a16="http://schemas.microsoft.com/office/drawing/2014/main" id="{EDF4D85C-E7AD-4908-BB56-9137281A6D9C}"/>
              </a:ext>
            </a:extLst>
          </p:cNvPr>
          <p:cNvSpPr/>
          <p:nvPr/>
        </p:nvSpPr>
        <p:spPr>
          <a:xfrm>
            <a:off x="6682306" y="5274477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Monitor progress through key results</a:t>
            </a:r>
          </a:p>
        </p:txBody>
      </p:sp>
      <p:cxnSp>
        <p:nvCxnSpPr>
          <p:cNvPr id="63" name="Straight Arrow Connector 62">
            <a:extLst>
              <a:ext uri="{FF2B5EF4-FFF2-40B4-BE49-F238E27FC236}">
                <a16:creationId xmlns:a16="http://schemas.microsoft.com/office/drawing/2014/main" id="{1B1F8B5E-0FD1-42DA-8F9C-2A6D0CB12C63}"/>
              </a:ext>
            </a:extLst>
          </p:cNvPr>
          <p:cNvCxnSpPr>
            <a:cxnSpLocks/>
            <a:stCxn id="54" idx="3"/>
            <a:endCxn id="61" idx="1"/>
          </p:cNvCxnSpPr>
          <p:nvPr/>
        </p:nvCxnSpPr>
        <p:spPr>
          <a:xfrm>
            <a:off x="3740434" y="5610608"/>
            <a:ext cx="835201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Arrow Connector 63">
            <a:extLst>
              <a:ext uri="{FF2B5EF4-FFF2-40B4-BE49-F238E27FC236}">
                <a16:creationId xmlns:a16="http://schemas.microsoft.com/office/drawing/2014/main" id="{D4CDBA95-8B26-466E-8255-27A702EA78B7}"/>
              </a:ext>
            </a:extLst>
          </p:cNvPr>
          <p:cNvCxnSpPr>
            <a:stCxn id="61" idx="3"/>
            <a:endCxn id="62" idx="1"/>
          </p:cNvCxnSpPr>
          <p:nvPr/>
        </p:nvCxnSpPr>
        <p:spPr>
          <a:xfrm>
            <a:off x="5831683" y="5610608"/>
            <a:ext cx="850623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Connector: Elbow 4">
            <a:extLst>
              <a:ext uri="{FF2B5EF4-FFF2-40B4-BE49-F238E27FC236}">
                <a16:creationId xmlns:a16="http://schemas.microsoft.com/office/drawing/2014/main" id="{7AFC4F66-C461-4565-BCDB-8969FC4F3278}"/>
              </a:ext>
            </a:extLst>
          </p:cNvPr>
          <p:cNvCxnSpPr>
            <a:stCxn id="4" idx="2"/>
            <a:endCxn id="54" idx="0"/>
          </p:cNvCxnSpPr>
          <p:nvPr/>
        </p:nvCxnSpPr>
        <p:spPr>
          <a:xfrm rot="5400000">
            <a:off x="2058700" y="4218857"/>
            <a:ext cx="2109330" cy="1910"/>
          </a:xfrm>
          <a:prstGeom prst="bentConnector3">
            <a:avLst/>
          </a:prstGeom>
          <a:ln w="12700"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Connector: Elbow 9">
            <a:extLst>
              <a:ext uri="{FF2B5EF4-FFF2-40B4-BE49-F238E27FC236}">
                <a16:creationId xmlns:a16="http://schemas.microsoft.com/office/drawing/2014/main" id="{91E60701-05F5-4B7A-BC71-AABE62F95385}"/>
              </a:ext>
            </a:extLst>
          </p:cNvPr>
          <p:cNvCxnSpPr>
            <a:cxnSpLocks/>
            <a:stCxn id="24" idx="1"/>
            <a:endCxn id="62" idx="0"/>
          </p:cNvCxnSpPr>
          <p:nvPr/>
        </p:nvCxnSpPr>
        <p:spPr>
          <a:xfrm rot="10800000" flipV="1">
            <a:off x="7310331" y="2829015"/>
            <a:ext cx="442085" cy="2445461"/>
          </a:xfrm>
          <a:prstGeom prst="bentConnector2">
            <a:avLst/>
          </a:prstGeom>
          <a:ln w="12700">
            <a:prstDash val="soli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149638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7B24AB2-215A-4F09-8326-CB4A495BD6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392" y="72776"/>
            <a:ext cx="11253216" cy="699516"/>
          </a:xfrm>
        </p:spPr>
        <p:txBody>
          <a:bodyPr/>
          <a:lstStyle/>
          <a:p>
            <a:r>
              <a:rPr lang="en-GB" sz="2800" dirty="0"/>
              <a:t>Product Funding</a:t>
            </a:r>
            <a:endParaRPr lang="en-US" sz="2800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7C9800B-1C63-452C-9E3E-CBA7565536F3}"/>
              </a:ext>
            </a:extLst>
          </p:cNvPr>
          <p:cNvSpPr/>
          <p:nvPr/>
        </p:nvSpPr>
        <p:spPr>
          <a:xfrm>
            <a:off x="701337" y="1959669"/>
            <a:ext cx="4793941" cy="1576191"/>
          </a:xfrm>
          <a:prstGeom prst="rect">
            <a:avLst/>
          </a:prstGeom>
          <a:solidFill>
            <a:srgbClr val="12D6E0">
              <a:alpha val="25000"/>
            </a:srgbClr>
          </a:solidFill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8E7BC08-F770-458B-ACE4-D15BE1D418D8}"/>
              </a:ext>
            </a:extLst>
          </p:cNvPr>
          <p:cNvSpPr/>
          <p:nvPr/>
        </p:nvSpPr>
        <p:spPr>
          <a:xfrm>
            <a:off x="5599159" y="1959669"/>
            <a:ext cx="3189734" cy="1576191"/>
          </a:xfrm>
          <a:prstGeom prst="rect">
            <a:avLst/>
          </a:prstGeom>
          <a:solidFill>
            <a:srgbClr val="12D6E0">
              <a:alpha val="25000"/>
            </a:srgbClr>
          </a:solidFill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F3C7C38-0492-4FFD-B04C-BCA840B6D516}"/>
              </a:ext>
            </a:extLst>
          </p:cNvPr>
          <p:cNvSpPr/>
          <p:nvPr/>
        </p:nvSpPr>
        <p:spPr>
          <a:xfrm>
            <a:off x="8892774" y="1959669"/>
            <a:ext cx="2017882" cy="1576191"/>
          </a:xfrm>
          <a:prstGeom prst="rect">
            <a:avLst/>
          </a:prstGeom>
          <a:solidFill>
            <a:srgbClr val="12D6E0">
              <a:alpha val="25000"/>
            </a:srgbClr>
          </a:solidFill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13">
            <a:extLst>
              <a:ext uri="{FF2B5EF4-FFF2-40B4-BE49-F238E27FC236}">
                <a16:creationId xmlns:a16="http://schemas.microsoft.com/office/drawing/2014/main" id="{AE28CB67-9C52-45D2-83CF-0F28D0F77A85}"/>
              </a:ext>
            </a:extLst>
          </p:cNvPr>
          <p:cNvSpPr/>
          <p:nvPr/>
        </p:nvSpPr>
        <p:spPr>
          <a:xfrm>
            <a:off x="2499486" y="2649879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Describe and categorize product</a:t>
            </a:r>
          </a:p>
        </p:txBody>
      </p:sp>
      <p:sp>
        <p:nvSpPr>
          <p:cNvPr id="65" name="Rectangle 20">
            <a:extLst>
              <a:ext uri="{FF2B5EF4-FFF2-40B4-BE49-F238E27FC236}">
                <a16:creationId xmlns:a16="http://schemas.microsoft.com/office/drawing/2014/main" id="{D812026C-68A7-4DA5-B1BA-4C178D9C5FD8}"/>
              </a:ext>
            </a:extLst>
          </p:cNvPr>
          <p:cNvSpPr/>
          <p:nvPr/>
        </p:nvSpPr>
        <p:spPr>
          <a:xfrm>
            <a:off x="896251" y="2649879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>
                <a:solidFill>
                  <a:srgbClr val="FFFFFF"/>
                </a:solidFill>
              </a:rPr>
              <a:t>Create product</a:t>
            </a:r>
          </a:p>
        </p:txBody>
      </p:sp>
      <p:cxnSp>
        <p:nvCxnSpPr>
          <p:cNvPr id="66" name="Straight Arrow Connector 65">
            <a:extLst>
              <a:ext uri="{FF2B5EF4-FFF2-40B4-BE49-F238E27FC236}">
                <a16:creationId xmlns:a16="http://schemas.microsoft.com/office/drawing/2014/main" id="{AF2E8D4C-8D17-41FC-AF32-95B277628652}"/>
              </a:ext>
            </a:extLst>
          </p:cNvPr>
          <p:cNvCxnSpPr>
            <a:cxnSpLocks/>
            <a:stCxn id="65" idx="3"/>
            <a:endCxn id="44" idx="1"/>
          </p:cNvCxnSpPr>
          <p:nvPr/>
        </p:nvCxnSpPr>
        <p:spPr>
          <a:xfrm>
            <a:off x="2152299" y="2986010"/>
            <a:ext cx="347187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67" name="Rectangle 13">
            <a:extLst>
              <a:ext uri="{FF2B5EF4-FFF2-40B4-BE49-F238E27FC236}">
                <a16:creationId xmlns:a16="http://schemas.microsoft.com/office/drawing/2014/main" id="{41C4FE70-8D23-487A-84DF-FA28B996F77C}"/>
              </a:ext>
            </a:extLst>
          </p:cNvPr>
          <p:cNvSpPr/>
          <p:nvPr/>
        </p:nvSpPr>
        <p:spPr>
          <a:xfrm>
            <a:off x="4102721" y="2649879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>
                <a:solidFill>
                  <a:srgbClr val="FFFFFF"/>
                </a:solidFill>
              </a:rPr>
              <a:t>Create / manage product roadmap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2A8DCC53-BA51-4CDA-9EC5-ADD73BCC64E7}"/>
              </a:ext>
            </a:extLst>
          </p:cNvPr>
          <p:cNvSpPr/>
          <p:nvPr/>
        </p:nvSpPr>
        <p:spPr>
          <a:xfrm>
            <a:off x="5776978" y="2649879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Identify and document product objectives / benefits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78C642B4-3550-44CD-B725-DC632DE4C48E}"/>
              </a:ext>
            </a:extLst>
          </p:cNvPr>
          <p:cNvSpPr/>
          <p:nvPr/>
        </p:nvSpPr>
        <p:spPr>
          <a:xfrm>
            <a:off x="7380213" y="2649879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>
                <a:solidFill>
                  <a:srgbClr val="FFFFFF"/>
                </a:solidFill>
              </a:rPr>
              <a:t>Manage financial budgets / targets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BC4B469B-023C-4ED7-95E3-B852A7629EA1}"/>
              </a:ext>
            </a:extLst>
          </p:cNvPr>
          <p:cNvSpPr/>
          <p:nvPr/>
        </p:nvSpPr>
        <p:spPr>
          <a:xfrm>
            <a:off x="2443841" y="2093560"/>
            <a:ext cx="1308932" cy="3342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Product Planning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50D7BB61-DDDC-433A-8673-3DAAFC1AD7F3}"/>
              </a:ext>
            </a:extLst>
          </p:cNvPr>
          <p:cNvSpPr/>
          <p:nvPr/>
        </p:nvSpPr>
        <p:spPr>
          <a:xfrm>
            <a:off x="9273691" y="2652099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>
                <a:solidFill>
                  <a:srgbClr val="FFFFFF"/>
                </a:solidFill>
              </a:rPr>
              <a:t>Manage capacity targets: </a:t>
            </a:r>
          </a:p>
          <a:p>
            <a:pPr algn="ctr" defTabSz="685749"/>
            <a:r>
              <a:rPr lang="en-GB" sz="1000" kern="0">
                <a:solidFill>
                  <a:srgbClr val="FFFFFF"/>
                </a:solidFill>
              </a:rPr>
              <a:t>Team of teams</a:t>
            </a: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29AA1633-3D3F-439E-98B1-2FF013AF6C22}"/>
              </a:ext>
            </a:extLst>
          </p:cNvPr>
          <p:cNvCxnSpPr>
            <a:cxnSpLocks/>
            <a:stCxn id="44" idx="3"/>
            <a:endCxn id="67" idx="1"/>
          </p:cNvCxnSpPr>
          <p:nvPr/>
        </p:nvCxnSpPr>
        <p:spPr>
          <a:xfrm>
            <a:off x="3755534" y="2986010"/>
            <a:ext cx="347187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999FB998-6EDF-4C4C-9CE8-6CA797479E89}"/>
              </a:ext>
            </a:extLst>
          </p:cNvPr>
          <p:cNvCxnSpPr>
            <a:cxnSpLocks/>
            <a:stCxn id="67" idx="3"/>
            <a:endCxn id="68" idx="1"/>
          </p:cNvCxnSpPr>
          <p:nvPr/>
        </p:nvCxnSpPr>
        <p:spPr>
          <a:xfrm>
            <a:off x="5358769" y="2986010"/>
            <a:ext cx="418209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192C07D4-8280-42FA-90C1-83CBB8F4AD54}"/>
              </a:ext>
            </a:extLst>
          </p:cNvPr>
          <p:cNvCxnSpPr>
            <a:cxnSpLocks/>
            <a:stCxn id="68" idx="3"/>
            <a:endCxn id="69" idx="1"/>
          </p:cNvCxnSpPr>
          <p:nvPr/>
        </p:nvCxnSpPr>
        <p:spPr>
          <a:xfrm>
            <a:off x="7033026" y="2986010"/>
            <a:ext cx="347187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EC0186D0-26DF-4F97-B26B-397BC6BA6E06}"/>
              </a:ext>
            </a:extLst>
          </p:cNvPr>
          <p:cNvCxnSpPr>
            <a:cxnSpLocks/>
            <a:stCxn id="69" idx="3"/>
            <a:endCxn id="71" idx="1"/>
          </p:cNvCxnSpPr>
          <p:nvPr/>
        </p:nvCxnSpPr>
        <p:spPr>
          <a:xfrm>
            <a:off x="8636261" y="2986010"/>
            <a:ext cx="637430" cy="222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6" name="Rectangle 75">
            <a:extLst>
              <a:ext uri="{FF2B5EF4-FFF2-40B4-BE49-F238E27FC236}">
                <a16:creationId xmlns:a16="http://schemas.microsoft.com/office/drawing/2014/main" id="{B3FC4C14-7F90-4615-BDFE-FC455DC798D3}"/>
              </a:ext>
            </a:extLst>
          </p:cNvPr>
          <p:cNvSpPr/>
          <p:nvPr/>
        </p:nvSpPr>
        <p:spPr>
          <a:xfrm>
            <a:off x="6539560" y="2093560"/>
            <a:ext cx="1308932" cy="3342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Product Funding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4DD53843-871D-4EB7-8915-BB66CED53047}"/>
              </a:ext>
            </a:extLst>
          </p:cNvPr>
          <p:cNvSpPr/>
          <p:nvPr/>
        </p:nvSpPr>
        <p:spPr>
          <a:xfrm>
            <a:off x="9247249" y="2093560"/>
            <a:ext cx="1308932" cy="3342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>
                <a:solidFill>
                  <a:schemeClr val="tx1"/>
                </a:solidFill>
              </a:rPr>
              <a:t>Capacity Targets</a:t>
            </a:r>
            <a:endParaRPr lang="en-US" sz="1050">
              <a:solidFill>
                <a:schemeClr val="tx1"/>
              </a:solidFill>
            </a:endParaRPr>
          </a:p>
        </p:txBody>
      </p:sp>
      <p:cxnSp>
        <p:nvCxnSpPr>
          <p:cNvPr id="78" name="Connector: Elbow 21">
            <a:extLst>
              <a:ext uri="{FF2B5EF4-FFF2-40B4-BE49-F238E27FC236}">
                <a16:creationId xmlns:a16="http://schemas.microsoft.com/office/drawing/2014/main" id="{CACED4AF-F5DF-4701-9AC6-87D3DBC24D3B}"/>
              </a:ext>
            </a:extLst>
          </p:cNvPr>
          <p:cNvCxnSpPr>
            <a:cxnSpLocks/>
            <a:stCxn id="71" idx="2"/>
          </p:cNvCxnSpPr>
          <p:nvPr/>
        </p:nvCxnSpPr>
        <p:spPr>
          <a:xfrm rot="5400000">
            <a:off x="9230505" y="3068939"/>
            <a:ext cx="415789" cy="926633"/>
          </a:xfrm>
          <a:prstGeom prst="bentConnector2">
            <a:avLst/>
          </a:prstGeom>
          <a:ln w="19050">
            <a:solidFill>
              <a:schemeClr val="tx1"/>
            </a:solidFill>
            <a:prstDash val="sysDot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Connector: Elbow 21">
            <a:extLst>
              <a:ext uri="{FF2B5EF4-FFF2-40B4-BE49-F238E27FC236}">
                <a16:creationId xmlns:a16="http://schemas.microsoft.com/office/drawing/2014/main" id="{717BAB48-FD3A-4B47-A443-56F678D5E0D9}"/>
              </a:ext>
            </a:extLst>
          </p:cNvPr>
          <p:cNvCxnSpPr>
            <a:cxnSpLocks/>
            <a:stCxn id="69" idx="2"/>
            <a:endCxn id="80" idx="0"/>
          </p:cNvCxnSpPr>
          <p:nvPr/>
        </p:nvCxnSpPr>
        <p:spPr>
          <a:xfrm rot="16200000" flipH="1">
            <a:off x="8070822" y="3259555"/>
            <a:ext cx="841673" cy="966843"/>
          </a:xfrm>
          <a:prstGeom prst="bentConnector3">
            <a:avLst>
              <a:gd name="adj1" fmla="val 50000"/>
            </a:avLst>
          </a:prstGeom>
          <a:ln w="19050">
            <a:solidFill>
              <a:schemeClr val="tx1"/>
            </a:solidFill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Rectangle 79">
            <a:extLst>
              <a:ext uri="{FF2B5EF4-FFF2-40B4-BE49-F238E27FC236}">
                <a16:creationId xmlns:a16="http://schemas.microsoft.com/office/drawing/2014/main" id="{DF868507-4981-41D1-A06D-9935753BAB89}"/>
              </a:ext>
            </a:extLst>
          </p:cNvPr>
          <p:cNvSpPr/>
          <p:nvPr/>
        </p:nvSpPr>
        <p:spPr>
          <a:xfrm>
            <a:off x="8067319" y="4163814"/>
            <a:ext cx="1815522" cy="47553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>
                <a:lumMod val="90000"/>
                <a:lumOff val="1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Analysis and Prioritization / Portfolio Capacity Planning</a:t>
            </a:r>
            <a:endParaRPr lang="en-US" sz="105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5338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A2CAD822-7E1B-483C-8A8C-786AE569C8BB}"/>
              </a:ext>
            </a:extLst>
          </p:cNvPr>
          <p:cNvSpPr/>
          <p:nvPr/>
        </p:nvSpPr>
        <p:spPr>
          <a:xfrm>
            <a:off x="1771344" y="2467556"/>
            <a:ext cx="3785503" cy="2294944"/>
          </a:xfrm>
          <a:prstGeom prst="rect">
            <a:avLst/>
          </a:prstGeom>
          <a:solidFill>
            <a:srgbClr val="12D6E0">
              <a:alpha val="25000"/>
            </a:srgbClr>
          </a:solidFill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E2DB01A-0D37-45DA-97F5-A2F8B70AFAFE}"/>
              </a:ext>
            </a:extLst>
          </p:cNvPr>
          <p:cNvSpPr/>
          <p:nvPr/>
        </p:nvSpPr>
        <p:spPr>
          <a:xfrm>
            <a:off x="417252" y="731274"/>
            <a:ext cx="5139595" cy="1576191"/>
          </a:xfrm>
          <a:prstGeom prst="rect">
            <a:avLst/>
          </a:prstGeom>
          <a:solidFill>
            <a:srgbClr val="12D6E0">
              <a:alpha val="25000"/>
            </a:srgbClr>
          </a:solidFill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46CC50DB-58C0-4519-902C-7C58A8EC847D}"/>
              </a:ext>
            </a:extLst>
          </p:cNvPr>
          <p:cNvSpPr/>
          <p:nvPr/>
        </p:nvSpPr>
        <p:spPr>
          <a:xfrm>
            <a:off x="5703183" y="731274"/>
            <a:ext cx="1815522" cy="2796000"/>
          </a:xfrm>
          <a:prstGeom prst="rect">
            <a:avLst/>
          </a:prstGeom>
          <a:solidFill>
            <a:srgbClr val="12D6E0">
              <a:alpha val="25000"/>
            </a:srgbClr>
          </a:solidFill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B364396D-8E3F-471E-B2E4-FE2189A259CE}"/>
              </a:ext>
            </a:extLst>
          </p:cNvPr>
          <p:cNvSpPr/>
          <p:nvPr/>
        </p:nvSpPr>
        <p:spPr>
          <a:xfrm>
            <a:off x="7653711" y="727943"/>
            <a:ext cx="2620608" cy="2799330"/>
          </a:xfrm>
          <a:prstGeom prst="rect">
            <a:avLst/>
          </a:prstGeom>
          <a:solidFill>
            <a:srgbClr val="12D6E0">
              <a:alpha val="25000"/>
            </a:srgbClr>
          </a:solidFill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13ABE489-F7AE-4C12-B675-C7C4F8B2E07D}"/>
              </a:ext>
            </a:extLst>
          </p:cNvPr>
          <p:cNvSpPr/>
          <p:nvPr/>
        </p:nvSpPr>
        <p:spPr>
          <a:xfrm>
            <a:off x="5703183" y="3647659"/>
            <a:ext cx="4571136" cy="1739681"/>
          </a:xfrm>
          <a:prstGeom prst="rect">
            <a:avLst/>
          </a:prstGeom>
          <a:solidFill>
            <a:srgbClr val="12D6E0">
              <a:alpha val="25000"/>
            </a:srgbClr>
          </a:solidFill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8" name="Straight Arrow Connector 27">
            <a:extLst>
              <a:ext uri="{FF2B5EF4-FFF2-40B4-BE49-F238E27FC236}">
                <a16:creationId xmlns:a16="http://schemas.microsoft.com/office/drawing/2014/main" id="{107D480C-033F-47BD-8AD8-5B1D82975461}"/>
              </a:ext>
            </a:extLst>
          </p:cNvPr>
          <p:cNvCxnSpPr>
            <a:cxnSpLocks/>
            <a:endCxn id="61" idx="0"/>
          </p:cNvCxnSpPr>
          <p:nvPr/>
        </p:nvCxnSpPr>
        <p:spPr>
          <a:xfrm>
            <a:off x="8388307" y="4416601"/>
            <a:ext cx="1" cy="234978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61CF01CC-FFEF-426D-BA31-54EF9AE88AE4}"/>
              </a:ext>
            </a:extLst>
          </p:cNvPr>
          <p:cNvCxnSpPr>
            <a:cxnSpLocks/>
            <a:stCxn id="37" idx="2"/>
            <a:endCxn id="64" idx="0"/>
          </p:cNvCxnSpPr>
          <p:nvPr/>
        </p:nvCxnSpPr>
        <p:spPr>
          <a:xfrm flipH="1">
            <a:off x="8388307" y="2062912"/>
            <a:ext cx="2381" cy="664013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4B361D6A-E518-4AC7-93D2-D8169FBFEB06}"/>
              </a:ext>
            </a:extLst>
          </p:cNvPr>
          <p:cNvCxnSpPr>
            <a:cxnSpLocks/>
            <a:stCxn id="64" idx="0"/>
          </p:cNvCxnSpPr>
          <p:nvPr/>
        </p:nvCxnSpPr>
        <p:spPr>
          <a:xfrm>
            <a:off x="8388307" y="2726925"/>
            <a:ext cx="0" cy="1058494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1" name="Rectangle 20">
            <a:extLst>
              <a:ext uri="{FF2B5EF4-FFF2-40B4-BE49-F238E27FC236}">
                <a16:creationId xmlns:a16="http://schemas.microsoft.com/office/drawing/2014/main" id="{BBD9A210-2DD2-482B-BF6E-5B246EC2A0FC}"/>
              </a:ext>
            </a:extLst>
          </p:cNvPr>
          <p:cNvSpPr/>
          <p:nvPr/>
        </p:nvSpPr>
        <p:spPr>
          <a:xfrm>
            <a:off x="574401" y="1488554"/>
            <a:ext cx="1070201" cy="566418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900" kern="0">
                <a:solidFill>
                  <a:srgbClr val="FFFFFF"/>
                </a:solidFill>
              </a:rPr>
              <a:t>Create epic</a:t>
            </a:r>
          </a:p>
        </p:txBody>
      </p:sp>
      <p:sp>
        <p:nvSpPr>
          <p:cNvPr id="32" name="Rectangle 20">
            <a:extLst>
              <a:ext uri="{FF2B5EF4-FFF2-40B4-BE49-F238E27FC236}">
                <a16:creationId xmlns:a16="http://schemas.microsoft.com/office/drawing/2014/main" id="{760ED277-0F9F-4131-B05F-20ABBF82A35B}"/>
              </a:ext>
            </a:extLst>
          </p:cNvPr>
          <p:cNvSpPr/>
          <p:nvPr/>
        </p:nvSpPr>
        <p:spPr>
          <a:xfrm>
            <a:off x="1845769" y="1488262"/>
            <a:ext cx="1070201" cy="566710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900" kern="0">
                <a:solidFill>
                  <a:srgbClr val="FFFFFF"/>
                </a:solidFill>
              </a:rPr>
              <a:t>Describe and categorize epic</a:t>
            </a:r>
          </a:p>
        </p:txBody>
      </p:sp>
      <p:sp>
        <p:nvSpPr>
          <p:cNvPr id="33" name="Rectangle 20">
            <a:extLst>
              <a:ext uri="{FF2B5EF4-FFF2-40B4-BE49-F238E27FC236}">
                <a16:creationId xmlns:a16="http://schemas.microsoft.com/office/drawing/2014/main" id="{49F5BD7E-0593-4D70-BAFB-0B42259492CD}"/>
              </a:ext>
            </a:extLst>
          </p:cNvPr>
          <p:cNvSpPr/>
          <p:nvPr/>
        </p:nvSpPr>
        <p:spPr>
          <a:xfrm>
            <a:off x="4388505" y="1491593"/>
            <a:ext cx="1070201" cy="567003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900" kern="0" dirty="0">
                <a:solidFill>
                  <a:srgbClr val="FFFFFF"/>
                </a:solidFill>
              </a:rPr>
              <a:t>Capture  prioritization information (e.g., WSJF)</a:t>
            </a:r>
          </a:p>
        </p:txBody>
      </p:sp>
      <p:sp>
        <p:nvSpPr>
          <p:cNvPr id="34" name="Rectangle 20">
            <a:extLst>
              <a:ext uri="{FF2B5EF4-FFF2-40B4-BE49-F238E27FC236}">
                <a16:creationId xmlns:a16="http://schemas.microsoft.com/office/drawing/2014/main" id="{177C9813-D3E8-4779-AA5D-7E67C78D8520}"/>
              </a:ext>
            </a:extLst>
          </p:cNvPr>
          <p:cNvSpPr/>
          <p:nvPr/>
        </p:nvSpPr>
        <p:spPr>
          <a:xfrm>
            <a:off x="3117137" y="1488554"/>
            <a:ext cx="1070201" cy="566710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900" kern="0" dirty="0">
                <a:solidFill>
                  <a:srgbClr val="FFFFFF"/>
                </a:solidFill>
              </a:rPr>
              <a:t>Associate to relevant products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C19778E-42AA-4BBB-B06D-7627EAB659A3}"/>
              </a:ext>
            </a:extLst>
          </p:cNvPr>
          <p:cNvSpPr/>
          <p:nvPr/>
        </p:nvSpPr>
        <p:spPr>
          <a:xfrm>
            <a:off x="2332583" y="811896"/>
            <a:ext cx="1308932" cy="3342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dk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Demand Intake (Governance)</a:t>
            </a:r>
            <a:endParaRPr lang="en-US" sz="1050" dirty="0">
              <a:solidFill>
                <a:schemeClr val="tx1"/>
              </a:solidFill>
            </a:endParaRPr>
          </a:p>
        </p:txBody>
      </p:sp>
      <p:grpSp>
        <p:nvGrpSpPr>
          <p:cNvPr id="36" name="Group 23">
            <a:extLst>
              <a:ext uri="{FF2B5EF4-FFF2-40B4-BE49-F238E27FC236}">
                <a16:creationId xmlns:a16="http://schemas.microsoft.com/office/drawing/2014/main" id="{E994ACA2-D89B-4158-A85A-8AD0D4C9247A}"/>
              </a:ext>
            </a:extLst>
          </p:cNvPr>
          <p:cNvGrpSpPr/>
          <p:nvPr/>
        </p:nvGrpSpPr>
        <p:grpSpPr>
          <a:xfrm>
            <a:off x="7831402" y="1241013"/>
            <a:ext cx="1113810" cy="821899"/>
            <a:chOff x="7641785" y="5305186"/>
            <a:chExt cx="995715" cy="742275"/>
          </a:xfrm>
        </p:grpSpPr>
        <p:sp>
          <p:nvSpPr>
            <p:cNvPr id="37" name="Diamond 25">
              <a:extLst>
                <a:ext uri="{FF2B5EF4-FFF2-40B4-BE49-F238E27FC236}">
                  <a16:creationId xmlns:a16="http://schemas.microsoft.com/office/drawing/2014/main" id="{1851BD68-588A-440E-A15C-44414E588DE4}"/>
                </a:ext>
              </a:extLst>
            </p:cNvPr>
            <p:cNvSpPr/>
            <p:nvPr/>
          </p:nvSpPr>
          <p:spPr>
            <a:xfrm>
              <a:off x="7744426" y="5305186"/>
              <a:ext cx="794689" cy="742275"/>
            </a:xfrm>
            <a:prstGeom prst="diamond">
              <a:avLst/>
            </a:prstGeom>
            <a:solidFill>
              <a:schemeClr val="tx1">
                <a:lumMod val="90000"/>
                <a:lumOff val="10000"/>
              </a:schemeClr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900"/>
            </a:p>
          </p:txBody>
        </p:sp>
        <p:sp>
          <p:nvSpPr>
            <p:cNvPr id="40" name="TextBox 26">
              <a:extLst>
                <a:ext uri="{FF2B5EF4-FFF2-40B4-BE49-F238E27FC236}">
                  <a16:creationId xmlns:a16="http://schemas.microsoft.com/office/drawing/2014/main" id="{38993F03-980B-43D8-A45A-74CA7C2E603D}"/>
                </a:ext>
              </a:extLst>
            </p:cNvPr>
            <p:cNvSpPr txBox="1"/>
            <p:nvPr/>
          </p:nvSpPr>
          <p:spPr>
            <a:xfrm>
              <a:off x="7641785" y="5452188"/>
              <a:ext cx="995715" cy="475844"/>
            </a:xfrm>
            <a:prstGeom prst="rect">
              <a:avLst/>
            </a:prstGeom>
            <a:noFill/>
            <a:effectLst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1"/>
                  </a:solidFill>
                </a:rPr>
                <a:t>Prioritize </a:t>
              </a:r>
            </a:p>
            <a:p>
              <a:pPr algn="ctr"/>
              <a:r>
                <a:rPr lang="en-US" sz="900" dirty="0">
                  <a:solidFill>
                    <a:schemeClr val="bg1"/>
                  </a:solidFill>
                </a:rPr>
                <a:t>portfolio </a:t>
              </a:r>
            </a:p>
            <a:p>
              <a:pPr algn="ctr"/>
              <a:r>
                <a:rPr lang="en-US" sz="900" dirty="0">
                  <a:solidFill>
                    <a:schemeClr val="bg1"/>
                  </a:solidFill>
                </a:rPr>
                <a:t>backlog</a:t>
              </a:r>
            </a:p>
          </p:txBody>
        </p:sp>
      </p:grpSp>
      <p:sp>
        <p:nvSpPr>
          <p:cNvPr id="42" name="Rectangle 41">
            <a:extLst>
              <a:ext uri="{FF2B5EF4-FFF2-40B4-BE49-F238E27FC236}">
                <a16:creationId xmlns:a16="http://schemas.microsoft.com/office/drawing/2014/main" id="{42BC4708-3650-451F-9CB2-DBAB9181D1B1}"/>
              </a:ext>
            </a:extLst>
          </p:cNvPr>
          <p:cNvSpPr/>
          <p:nvPr/>
        </p:nvSpPr>
        <p:spPr>
          <a:xfrm>
            <a:off x="5956478" y="811896"/>
            <a:ext cx="1308932" cy="3342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dk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Epic Financial Planning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0A4E39CA-BBBB-4BEC-B64C-FD8257F63F77}"/>
              </a:ext>
            </a:extLst>
          </p:cNvPr>
          <p:cNvSpPr/>
          <p:nvPr/>
        </p:nvSpPr>
        <p:spPr>
          <a:xfrm>
            <a:off x="8056254" y="811896"/>
            <a:ext cx="1815522" cy="33297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dk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>
                <a:solidFill>
                  <a:schemeClr val="tx1"/>
                </a:solidFill>
              </a:rPr>
              <a:t>Analysis and Prioritization / Portfolio Capacity Planning</a:t>
            </a:r>
            <a:endParaRPr lang="en-US" sz="1050">
              <a:solidFill>
                <a:schemeClr val="tx1"/>
              </a:solidFill>
            </a:endParaRPr>
          </a:p>
        </p:txBody>
      </p:sp>
      <p:grpSp>
        <p:nvGrpSpPr>
          <p:cNvPr id="45" name="Group 44">
            <a:extLst>
              <a:ext uri="{FF2B5EF4-FFF2-40B4-BE49-F238E27FC236}">
                <a16:creationId xmlns:a16="http://schemas.microsoft.com/office/drawing/2014/main" id="{9245F570-1411-4D1E-8FA8-69654441A548}"/>
              </a:ext>
            </a:extLst>
          </p:cNvPr>
          <p:cNvGrpSpPr/>
          <p:nvPr/>
        </p:nvGrpSpPr>
        <p:grpSpPr>
          <a:xfrm>
            <a:off x="7751728" y="3785419"/>
            <a:ext cx="1273158" cy="631182"/>
            <a:chOff x="4229557" y="5250620"/>
            <a:chExt cx="2368656" cy="1034770"/>
          </a:xfrm>
        </p:grpSpPr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5EEC3777-24D7-44F3-89AB-793DCCF4F58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4229557" y="5250620"/>
              <a:ext cx="2368656" cy="1034770"/>
            </a:xfrm>
            <a:prstGeom prst="roundRect">
              <a:avLst>
                <a:gd name="adj" fmla="val 0"/>
              </a:avLst>
            </a:prstGeom>
            <a:ln w="3175">
              <a:solidFill>
                <a:schemeClr val="bg1">
                  <a:lumMod val="50000"/>
                </a:schemeClr>
              </a:solidFill>
            </a:ln>
            <a:effectLst/>
          </p:spPr>
        </p:pic>
        <p:sp>
          <p:nvSpPr>
            <p:cNvPr id="47" name="TextBox 43">
              <a:extLst>
                <a:ext uri="{FF2B5EF4-FFF2-40B4-BE49-F238E27FC236}">
                  <a16:creationId xmlns:a16="http://schemas.microsoft.com/office/drawing/2014/main" id="{8E149053-717B-4CA4-B8BB-8582686EA022}"/>
                </a:ext>
              </a:extLst>
            </p:cNvPr>
            <p:cNvSpPr txBox="1"/>
            <p:nvPr/>
          </p:nvSpPr>
          <p:spPr>
            <a:xfrm>
              <a:off x="4333538" y="5481543"/>
              <a:ext cx="2160685" cy="552259"/>
            </a:xfrm>
            <a:prstGeom prst="rect">
              <a:avLst/>
            </a:prstGeom>
            <a:solidFill>
              <a:schemeClr val="bg1">
                <a:alpha val="75000"/>
              </a:schemeClr>
            </a:solidFill>
            <a:effectLst/>
          </p:spPr>
          <p:txBody>
            <a:bodyPr wrap="square" lIns="91440" tIns="45720" rIns="91440" bIns="45720" rtlCol="0" anchor="ctr">
              <a:noAutofit/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n-US" sz="900" b="1" dirty="0">
                  <a:solidFill>
                    <a:schemeClr val="accent1">
                      <a:lumMod val="50000"/>
                    </a:schemeClr>
                  </a:solidFill>
                </a:rPr>
                <a:t>Sync epics across to portfolio board</a:t>
              </a:r>
            </a:p>
          </p:txBody>
        </p:sp>
      </p:grpSp>
      <p:cxnSp>
        <p:nvCxnSpPr>
          <p:cNvPr id="48" name="Straight Arrow Connector 47">
            <a:extLst>
              <a:ext uri="{FF2B5EF4-FFF2-40B4-BE49-F238E27FC236}">
                <a16:creationId xmlns:a16="http://schemas.microsoft.com/office/drawing/2014/main" id="{92D49ADE-B636-4D9C-8C6A-83489C5874B1}"/>
              </a:ext>
            </a:extLst>
          </p:cNvPr>
          <p:cNvCxnSpPr>
            <a:cxnSpLocks/>
          </p:cNvCxnSpPr>
          <p:nvPr/>
        </p:nvCxnSpPr>
        <p:spPr>
          <a:xfrm flipV="1">
            <a:off x="1644602" y="1737129"/>
            <a:ext cx="201167" cy="292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49" name="Straight Arrow Connector 48">
            <a:extLst>
              <a:ext uri="{FF2B5EF4-FFF2-40B4-BE49-F238E27FC236}">
                <a16:creationId xmlns:a16="http://schemas.microsoft.com/office/drawing/2014/main" id="{78E5BF3F-67E7-467C-B053-A43FBFFE6A5D}"/>
              </a:ext>
            </a:extLst>
          </p:cNvPr>
          <p:cNvCxnSpPr>
            <a:cxnSpLocks/>
          </p:cNvCxnSpPr>
          <p:nvPr/>
        </p:nvCxnSpPr>
        <p:spPr>
          <a:xfrm>
            <a:off x="2915970" y="1737129"/>
            <a:ext cx="201167" cy="292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0" name="Straight Arrow Connector 49">
            <a:extLst>
              <a:ext uri="{FF2B5EF4-FFF2-40B4-BE49-F238E27FC236}">
                <a16:creationId xmlns:a16="http://schemas.microsoft.com/office/drawing/2014/main" id="{E23A88BD-4CC9-450D-B2FA-43E1197D9C0F}"/>
              </a:ext>
            </a:extLst>
          </p:cNvPr>
          <p:cNvCxnSpPr>
            <a:cxnSpLocks/>
          </p:cNvCxnSpPr>
          <p:nvPr/>
        </p:nvCxnSpPr>
        <p:spPr>
          <a:xfrm>
            <a:off x="4187338" y="1737421"/>
            <a:ext cx="201167" cy="304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1" name="Rectangle 50">
            <a:extLst>
              <a:ext uri="{FF2B5EF4-FFF2-40B4-BE49-F238E27FC236}">
                <a16:creationId xmlns:a16="http://schemas.microsoft.com/office/drawing/2014/main" id="{25FEBC41-1B61-4C5C-8CFF-868D5F8EF158}"/>
              </a:ext>
            </a:extLst>
          </p:cNvPr>
          <p:cNvSpPr/>
          <p:nvPr/>
        </p:nvSpPr>
        <p:spPr>
          <a:xfrm>
            <a:off x="7773640" y="5662497"/>
            <a:ext cx="1229333" cy="374792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Program Backlog Management</a:t>
            </a:r>
            <a:endParaRPr lang="en-US" sz="1050" dirty="0">
              <a:solidFill>
                <a:schemeClr val="tx1"/>
              </a:solidFill>
            </a:endParaRPr>
          </a:p>
        </p:txBody>
      </p:sp>
      <p:cxnSp>
        <p:nvCxnSpPr>
          <p:cNvPr id="56" name="Straight Arrow Connector 55">
            <a:extLst>
              <a:ext uri="{FF2B5EF4-FFF2-40B4-BE49-F238E27FC236}">
                <a16:creationId xmlns:a16="http://schemas.microsoft.com/office/drawing/2014/main" id="{E72F7B25-1DB7-40A4-A713-F76015729971}"/>
              </a:ext>
            </a:extLst>
          </p:cNvPr>
          <p:cNvCxnSpPr>
            <a:cxnSpLocks/>
          </p:cNvCxnSpPr>
          <p:nvPr/>
        </p:nvCxnSpPr>
        <p:spPr>
          <a:xfrm flipV="1">
            <a:off x="6686033" y="2556331"/>
            <a:ext cx="0" cy="250678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57" name="Straight Arrow Connector 56">
            <a:extLst>
              <a:ext uri="{FF2B5EF4-FFF2-40B4-BE49-F238E27FC236}">
                <a16:creationId xmlns:a16="http://schemas.microsoft.com/office/drawing/2014/main" id="{9C9A4D73-3730-4C38-AD36-94452FB2E613}"/>
              </a:ext>
            </a:extLst>
          </p:cNvPr>
          <p:cNvCxnSpPr>
            <a:cxnSpLocks/>
            <a:stCxn id="61" idx="1"/>
            <a:endCxn id="62" idx="3"/>
          </p:cNvCxnSpPr>
          <p:nvPr/>
        </p:nvCxnSpPr>
        <p:spPr>
          <a:xfrm flipH="1" flipV="1">
            <a:off x="7265407" y="4900445"/>
            <a:ext cx="508234" cy="1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58" name="Rectangle 20">
            <a:extLst>
              <a:ext uri="{FF2B5EF4-FFF2-40B4-BE49-F238E27FC236}">
                <a16:creationId xmlns:a16="http://schemas.microsoft.com/office/drawing/2014/main" id="{157FEBC9-5E7D-4E52-926C-899BCD2A3908}"/>
              </a:ext>
            </a:extLst>
          </p:cNvPr>
          <p:cNvSpPr/>
          <p:nvPr/>
        </p:nvSpPr>
        <p:spPr>
          <a:xfrm>
            <a:off x="6101661" y="1402817"/>
            <a:ext cx="1168743" cy="497734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900" kern="0" dirty="0">
                <a:solidFill>
                  <a:srgbClr val="FFFFFF"/>
                </a:solidFill>
              </a:rPr>
              <a:t>Estimate sizes</a:t>
            </a:r>
          </a:p>
        </p:txBody>
      </p:sp>
      <p:sp>
        <p:nvSpPr>
          <p:cNvPr id="59" name="Rectangle 20">
            <a:extLst>
              <a:ext uri="{FF2B5EF4-FFF2-40B4-BE49-F238E27FC236}">
                <a16:creationId xmlns:a16="http://schemas.microsoft.com/office/drawing/2014/main" id="{C9241B02-5362-4A69-868A-B674DA440EB6}"/>
              </a:ext>
            </a:extLst>
          </p:cNvPr>
          <p:cNvSpPr/>
          <p:nvPr/>
        </p:nvSpPr>
        <p:spPr>
          <a:xfrm>
            <a:off x="6101661" y="2058597"/>
            <a:ext cx="1168743" cy="497734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900" kern="0" dirty="0">
                <a:solidFill>
                  <a:srgbClr val="FFFFFF"/>
                </a:solidFill>
              </a:rPr>
              <a:t>Manage cost and revenue/KPIs</a:t>
            </a:r>
          </a:p>
          <a:p>
            <a:pPr algn="ctr" defTabSz="685749"/>
            <a:r>
              <a:rPr lang="en-GB" sz="900" kern="0" dirty="0">
                <a:solidFill>
                  <a:srgbClr val="FFFFFF"/>
                </a:solidFill>
              </a:rPr>
              <a:t>(Lean Business Case)</a:t>
            </a:r>
          </a:p>
        </p:txBody>
      </p:sp>
      <p:sp>
        <p:nvSpPr>
          <p:cNvPr id="60" name="Rectangle 20">
            <a:extLst>
              <a:ext uri="{FF2B5EF4-FFF2-40B4-BE49-F238E27FC236}">
                <a16:creationId xmlns:a16="http://schemas.microsoft.com/office/drawing/2014/main" id="{1AA2AC58-3968-4A50-AF66-32CDE1AD188B}"/>
              </a:ext>
            </a:extLst>
          </p:cNvPr>
          <p:cNvSpPr/>
          <p:nvPr/>
        </p:nvSpPr>
        <p:spPr>
          <a:xfrm>
            <a:off x="6101661" y="2807009"/>
            <a:ext cx="1168743" cy="497734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900" kern="0">
                <a:solidFill>
                  <a:srgbClr val="FFFFFF"/>
                </a:solidFill>
              </a:rPr>
              <a:t>Consolidate actuals </a:t>
            </a:r>
          </a:p>
        </p:txBody>
      </p:sp>
      <p:sp>
        <p:nvSpPr>
          <p:cNvPr id="61" name="Rectangle 20">
            <a:extLst>
              <a:ext uri="{FF2B5EF4-FFF2-40B4-BE49-F238E27FC236}">
                <a16:creationId xmlns:a16="http://schemas.microsoft.com/office/drawing/2014/main" id="{4CA3D58C-D3B8-45F4-82B6-E37AC5F130F8}"/>
              </a:ext>
            </a:extLst>
          </p:cNvPr>
          <p:cNvSpPr/>
          <p:nvPr/>
        </p:nvSpPr>
        <p:spPr>
          <a:xfrm>
            <a:off x="7773641" y="4651579"/>
            <a:ext cx="1229333" cy="497734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900" kern="0" dirty="0">
                <a:solidFill>
                  <a:srgbClr val="FFFFFF"/>
                </a:solidFill>
              </a:rPr>
              <a:t>Sequence epics into </a:t>
            </a:r>
            <a:r>
              <a:rPr lang="en-GB" sz="900" kern="0">
                <a:solidFill>
                  <a:srgbClr val="FFFFFF"/>
                </a:solidFill>
              </a:rPr>
              <a:t>appropriate timeboxes </a:t>
            </a:r>
            <a:r>
              <a:rPr lang="en-GB" sz="900" kern="0" dirty="0">
                <a:solidFill>
                  <a:srgbClr val="FFFFFF"/>
                </a:solidFill>
              </a:rPr>
              <a:t>(e.g., PI) </a:t>
            </a:r>
          </a:p>
        </p:txBody>
      </p:sp>
      <p:sp>
        <p:nvSpPr>
          <p:cNvPr id="62" name="Rectangle 20">
            <a:extLst>
              <a:ext uri="{FF2B5EF4-FFF2-40B4-BE49-F238E27FC236}">
                <a16:creationId xmlns:a16="http://schemas.microsoft.com/office/drawing/2014/main" id="{7A944DC5-C547-46CC-B87F-2952F35DA877}"/>
              </a:ext>
            </a:extLst>
          </p:cNvPr>
          <p:cNvSpPr/>
          <p:nvPr/>
        </p:nvSpPr>
        <p:spPr>
          <a:xfrm>
            <a:off x="6096000" y="4651578"/>
            <a:ext cx="1169407" cy="497733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900" kern="0" dirty="0">
                <a:solidFill>
                  <a:srgbClr val="FFFFFF"/>
                </a:solidFill>
              </a:rPr>
              <a:t>Deliver epics through underlying features and stories 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9D97EAD-EF33-42BE-9CA0-750D4381C7A2}"/>
              </a:ext>
            </a:extLst>
          </p:cNvPr>
          <p:cNvGrpSpPr/>
          <p:nvPr/>
        </p:nvGrpSpPr>
        <p:grpSpPr>
          <a:xfrm>
            <a:off x="7807618" y="2726925"/>
            <a:ext cx="1161378" cy="530147"/>
            <a:chOff x="7807618" y="2726925"/>
            <a:chExt cx="1161378" cy="530147"/>
          </a:xfrm>
        </p:grpSpPr>
        <p:sp>
          <p:nvSpPr>
            <p:cNvPr id="64" name="Parallelogram 29">
              <a:extLst>
                <a:ext uri="{FF2B5EF4-FFF2-40B4-BE49-F238E27FC236}">
                  <a16:creationId xmlns:a16="http://schemas.microsoft.com/office/drawing/2014/main" id="{2A2D1D53-BF86-4A0C-8F0D-AE18CC75EF78}"/>
                </a:ext>
              </a:extLst>
            </p:cNvPr>
            <p:cNvSpPr/>
            <p:nvPr/>
          </p:nvSpPr>
          <p:spPr>
            <a:xfrm>
              <a:off x="7807618" y="2726925"/>
              <a:ext cx="1161378" cy="426406"/>
            </a:xfrm>
            <a:prstGeom prst="parallelogram">
              <a:avLst/>
            </a:prstGeom>
            <a:solidFill>
              <a:srgbClr val="FB2F02"/>
            </a:solidFill>
            <a:ln w="12700">
              <a:solidFill>
                <a:schemeClr val="tx1"/>
              </a:solidFill>
              <a:headEnd type="none" w="med" len="med"/>
              <a:tailEnd type="triangle" w="lg" len="lg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800"/>
            </a:p>
          </p:txBody>
        </p:sp>
        <p:sp>
          <p:nvSpPr>
            <p:cNvPr id="81" name="TextBox 30">
              <a:extLst>
                <a:ext uri="{FF2B5EF4-FFF2-40B4-BE49-F238E27FC236}">
                  <a16:creationId xmlns:a16="http://schemas.microsoft.com/office/drawing/2014/main" id="{9EA0D7AB-ABBB-4F34-B1C7-6C931244B12F}"/>
                </a:ext>
              </a:extLst>
            </p:cNvPr>
            <p:cNvSpPr txBox="1"/>
            <p:nvPr/>
          </p:nvSpPr>
          <p:spPr>
            <a:xfrm>
              <a:off x="7807618" y="2749241"/>
              <a:ext cx="1161378" cy="507831"/>
            </a:xfrm>
            <a:prstGeom prst="rect">
              <a:avLst/>
            </a:prstGeom>
            <a:noFill/>
            <a:ln w="12700">
              <a:noFill/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900" dirty="0">
                  <a:solidFill>
                    <a:schemeClr val="bg1"/>
                  </a:solidFill>
                </a:rPr>
                <a:t>Key prioritized</a:t>
              </a:r>
            </a:p>
            <a:p>
              <a:pPr algn="ctr"/>
              <a:r>
                <a:rPr lang="en-US" sz="900" dirty="0">
                  <a:solidFill>
                    <a:schemeClr val="bg1"/>
                  </a:solidFill>
                </a:rPr>
                <a:t>epics</a:t>
              </a:r>
            </a:p>
            <a:p>
              <a:pPr algn="ctr"/>
              <a:endParaRPr lang="en-US" sz="900" dirty="0">
                <a:solidFill>
                  <a:schemeClr val="bg1"/>
                </a:solidFill>
              </a:endParaRPr>
            </a:p>
          </p:txBody>
        </p:sp>
      </p:grpSp>
      <p:sp>
        <p:nvSpPr>
          <p:cNvPr id="82" name="Rectangle 81">
            <a:extLst>
              <a:ext uri="{FF2B5EF4-FFF2-40B4-BE49-F238E27FC236}">
                <a16:creationId xmlns:a16="http://schemas.microsoft.com/office/drawing/2014/main" id="{7B8D4E7A-415A-4E12-9266-0580B235DE8A}"/>
              </a:ext>
            </a:extLst>
          </p:cNvPr>
          <p:cNvSpPr/>
          <p:nvPr/>
        </p:nvSpPr>
        <p:spPr>
          <a:xfrm>
            <a:off x="10452010" y="1464287"/>
            <a:ext cx="1308932" cy="374792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accent1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Product Funding / Capacity Targets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CD1718CF-AE80-43FB-A186-E7E9C1016C40}"/>
              </a:ext>
            </a:extLst>
          </p:cNvPr>
          <p:cNvSpPr/>
          <p:nvPr/>
        </p:nvSpPr>
        <p:spPr>
          <a:xfrm>
            <a:off x="9169509" y="3814238"/>
            <a:ext cx="1041292" cy="579392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dk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Portfolio Backlog Management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88" name="Rectangle 20">
            <a:extLst>
              <a:ext uri="{FF2B5EF4-FFF2-40B4-BE49-F238E27FC236}">
                <a16:creationId xmlns:a16="http://schemas.microsoft.com/office/drawing/2014/main" id="{A79483AF-F1DB-4F79-9CBD-3137394F9CC2}"/>
              </a:ext>
            </a:extLst>
          </p:cNvPr>
          <p:cNvSpPr/>
          <p:nvPr/>
        </p:nvSpPr>
        <p:spPr>
          <a:xfrm>
            <a:off x="9043936" y="1402816"/>
            <a:ext cx="1070201" cy="497734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900" kern="0" dirty="0">
                <a:solidFill>
                  <a:srgbClr val="FFFFFF"/>
                </a:solidFill>
              </a:rPr>
              <a:t>Set portfolio budget and targets</a:t>
            </a:r>
          </a:p>
        </p:txBody>
      </p:sp>
      <p:cxnSp>
        <p:nvCxnSpPr>
          <p:cNvPr id="89" name="Connector: Elbow 88">
            <a:extLst>
              <a:ext uri="{FF2B5EF4-FFF2-40B4-BE49-F238E27FC236}">
                <a16:creationId xmlns:a16="http://schemas.microsoft.com/office/drawing/2014/main" id="{C6C35B89-B889-46D9-9137-31DF92612E74}"/>
              </a:ext>
            </a:extLst>
          </p:cNvPr>
          <p:cNvCxnSpPr>
            <a:cxnSpLocks/>
          </p:cNvCxnSpPr>
          <p:nvPr/>
        </p:nvCxnSpPr>
        <p:spPr>
          <a:xfrm flipV="1">
            <a:off x="7270404" y="1651684"/>
            <a:ext cx="674775" cy="655782"/>
          </a:xfrm>
          <a:prstGeom prst="bentConnector3">
            <a:avLst>
              <a:gd name="adj1" fmla="val 46471"/>
            </a:avLst>
          </a:prstGeom>
          <a:ln w="12700">
            <a:tailEnd type="non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0" name="Rectangle 13">
            <a:extLst>
              <a:ext uri="{FF2B5EF4-FFF2-40B4-BE49-F238E27FC236}">
                <a16:creationId xmlns:a16="http://schemas.microsoft.com/office/drawing/2014/main" id="{6172732A-D4D3-4C23-A834-C434AE6DAF77}"/>
              </a:ext>
            </a:extLst>
          </p:cNvPr>
          <p:cNvSpPr/>
          <p:nvPr/>
        </p:nvSpPr>
        <p:spPr>
          <a:xfrm>
            <a:off x="2257350" y="3192109"/>
            <a:ext cx="1256048" cy="497734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>
                <a:solidFill>
                  <a:srgbClr val="FFFFFF"/>
                </a:solidFill>
              </a:rPr>
              <a:t>Create and define objectives</a:t>
            </a:r>
          </a:p>
        </p:txBody>
      </p:sp>
      <p:sp>
        <p:nvSpPr>
          <p:cNvPr id="91" name="Rectangle 13">
            <a:extLst>
              <a:ext uri="{FF2B5EF4-FFF2-40B4-BE49-F238E27FC236}">
                <a16:creationId xmlns:a16="http://schemas.microsoft.com/office/drawing/2014/main" id="{69BE5F1F-1973-4BE4-A2F2-608535B2D1AD}"/>
              </a:ext>
            </a:extLst>
          </p:cNvPr>
          <p:cNvSpPr/>
          <p:nvPr/>
        </p:nvSpPr>
        <p:spPr>
          <a:xfrm>
            <a:off x="3969928" y="3192107"/>
            <a:ext cx="1256048" cy="497734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>
                <a:solidFill>
                  <a:srgbClr val="FFFFFF"/>
                </a:solidFill>
              </a:rPr>
              <a:t>Define current and target metrics (key results) </a:t>
            </a:r>
          </a:p>
        </p:txBody>
      </p:sp>
      <p:sp>
        <p:nvSpPr>
          <p:cNvPr id="92" name="Rectangle 13">
            <a:extLst>
              <a:ext uri="{FF2B5EF4-FFF2-40B4-BE49-F238E27FC236}">
                <a16:creationId xmlns:a16="http://schemas.microsoft.com/office/drawing/2014/main" id="{9B5E1F36-8061-47DB-901B-83CC02BA28B5}"/>
              </a:ext>
            </a:extLst>
          </p:cNvPr>
          <p:cNvSpPr/>
          <p:nvPr/>
        </p:nvSpPr>
        <p:spPr>
          <a:xfrm>
            <a:off x="3969928" y="4105700"/>
            <a:ext cx="1256048" cy="497734"/>
          </a:xfrm>
          <a:prstGeom prst="rect">
            <a:avLst/>
          </a:prstGeom>
          <a:solidFill>
            <a:schemeClr val="tx1">
              <a:lumMod val="90000"/>
              <a:lumOff val="10000"/>
            </a:schemeClr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>
                <a:solidFill>
                  <a:srgbClr val="FFFFFF"/>
                </a:solidFill>
              </a:rPr>
              <a:t>Monitor progress through key results </a:t>
            </a:r>
          </a:p>
        </p:txBody>
      </p:sp>
      <p:cxnSp>
        <p:nvCxnSpPr>
          <p:cNvPr id="93" name="Straight Arrow Connector 92">
            <a:extLst>
              <a:ext uri="{FF2B5EF4-FFF2-40B4-BE49-F238E27FC236}">
                <a16:creationId xmlns:a16="http://schemas.microsoft.com/office/drawing/2014/main" id="{98B9F1E1-6C83-4A4A-9B67-7355AB109C43}"/>
              </a:ext>
            </a:extLst>
          </p:cNvPr>
          <p:cNvCxnSpPr>
            <a:cxnSpLocks/>
          </p:cNvCxnSpPr>
          <p:nvPr/>
        </p:nvCxnSpPr>
        <p:spPr>
          <a:xfrm flipV="1">
            <a:off x="3513398" y="3440975"/>
            <a:ext cx="456530" cy="2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4" name="Straight Arrow Connector 93">
            <a:extLst>
              <a:ext uri="{FF2B5EF4-FFF2-40B4-BE49-F238E27FC236}">
                <a16:creationId xmlns:a16="http://schemas.microsoft.com/office/drawing/2014/main" id="{2B3B44A3-669E-4C85-9F07-BD2DA8C0E154}"/>
              </a:ext>
            </a:extLst>
          </p:cNvPr>
          <p:cNvCxnSpPr>
            <a:cxnSpLocks/>
            <a:stCxn id="91" idx="2"/>
            <a:endCxn id="92" idx="0"/>
          </p:cNvCxnSpPr>
          <p:nvPr/>
        </p:nvCxnSpPr>
        <p:spPr>
          <a:xfrm>
            <a:off x="4597952" y="3689841"/>
            <a:ext cx="0" cy="415859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95" name="Rectangle 94">
            <a:extLst>
              <a:ext uri="{FF2B5EF4-FFF2-40B4-BE49-F238E27FC236}">
                <a16:creationId xmlns:a16="http://schemas.microsoft.com/office/drawing/2014/main" id="{EA37B666-E469-49F3-B3EC-AAFE32C7CAA4}"/>
              </a:ext>
            </a:extLst>
          </p:cNvPr>
          <p:cNvSpPr/>
          <p:nvPr/>
        </p:nvSpPr>
        <p:spPr>
          <a:xfrm>
            <a:off x="2636927" y="2624682"/>
            <a:ext cx="2054336" cy="325434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dk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>
                <a:solidFill>
                  <a:schemeClr val="tx1"/>
                </a:solidFill>
              </a:rPr>
              <a:t>Portfolio OKRs</a:t>
            </a:r>
            <a:endParaRPr lang="en-US" sz="1050">
              <a:solidFill>
                <a:schemeClr val="tx1"/>
              </a:solidFill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7B24AB2-215A-4F09-8326-CB4A495BD6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192" y="72776"/>
            <a:ext cx="11253216" cy="699516"/>
          </a:xfrm>
        </p:spPr>
        <p:txBody>
          <a:bodyPr/>
          <a:lstStyle/>
          <a:p>
            <a:r>
              <a:rPr lang="en-GB" sz="2800" dirty="0"/>
              <a:t>Epic Portfolio Planning</a:t>
            </a:r>
            <a:endParaRPr lang="en-US" sz="2800" dirty="0"/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3305A5B8-F444-43A4-B637-1D7410F2B3C8}"/>
              </a:ext>
            </a:extLst>
          </p:cNvPr>
          <p:cNvCxnSpPr>
            <a:stCxn id="82" idx="1"/>
            <a:endCxn id="88" idx="3"/>
          </p:cNvCxnSpPr>
          <p:nvPr/>
        </p:nvCxnSpPr>
        <p:spPr>
          <a:xfrm flipH="1">
            <a:off x="10114137" y="1651683"/>
            <a:ext cx="337873" cy="0"/>
          </a:xfrm>
          <a:prstGeom prst="straightConnector1">
            <a:avLst/>
          </a:prstGeom>
          <a:ln w="190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Connector: Elbow 11">
            <a:extLst>
              <a:ext uri="{FF2B5EF4-FFF2-40B4-BE49-F238E27FC236}">
                <a16:creationId xmlns:a16="http://schemas.microsoft.com/office/drawing/2014/main" id="{73A93033-ACCC-4904-B61E-9F0007BD88C3}"/>
              </a:ext>
            </a:extLst>
          </p:cNvPr>
          <p:cNvCxnSpPr>
            <a:cxnSpLocks/>
            <a:stCxn id="51" idx="1"/>
            <a:endCxn id="62" idx="2"/>
          </p:cNvCxnSpPr>
          <p:nvPr/>
        </p:nvCxnSpPr>
        <p:spPr>
          <a:xfrm rot="10800000">
            <a:off x="6680704" y="5149311"/>
            <a:ext cx="1092936" cy="700582"/>
          </a:xfrm>
          <a:prstGeom prst="bentConnector2">
            <a:avLst/>
          </a:prstGeom>
          <a:ln w="190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Connector: Elbow 13">
            <a:extLst>
              <a:ext uri="{FF2B5EF4-FFF2-40B4-BE49-F238E27FC236}">
                <a16:creationId xmlns:a16="http://schemas.microsoft.com/office/drawing/2014/main" id="{E29EE9AF-164B-454A-AF60-5538CFAB868D}"/>
              </a:ext>
            </a:extLst>
          </p:cNvPr>
          <p:cNvCxnSpPr>
            <a:cxnSpLocks/>
            <a:stCxn id="62" idx="1"/>
            <a:endCxn id="92" idx="2"/>
          </p:cNvCxnSpPr>
          <p:nvPr/>
        </p:nvCxnSpPr>
        <p:spPr>
          <a:xfrm rot="10800000">
            <a:off x="4597952" y="4603435"/>
            <a:ext cx="1498048" cy="297011"/>
          </a:xfrm>
          <a:prstGeom prst="bentConnector2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Connector: Elbow 21">
            <a:extLst>
              <a:ext uri="{FF2B5EF4-FFF2-40B4-BE49-F238E27FC236}">
                <a16:creationId xmlns:a16="http://schemas.microsoft.com/office/drawing/2014/main" id="{49DA3FCB-D602-4EC0-87E6-BC4485ECD3A0}"/>
              </a:ext>
            </a:extLst>
          </p:cNvPr>
          <p:cNvCxnSpPr>
            <a:cxnSpLocks/>
            <a:stCxn id="33" idx="3"/>
            <a:endCxn id="58" idx="1"/>
          </p:cNvCxnSpPr>
          <p:nvPr/>
        </p:nvCxnSpPr>
        <p:spPr>
          <a:xfrm flipV="1">
            <a:off x="5458706" y="1651684"/>
            <a:ext cx="642955" cy="123411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Connector: Elbow 21">
            <a:extLst>
              <a:ext uri="{FF2B5EF4-FFF2-40B4-BE49-F238E27FC236}">
                <a16:creationId xmlns:a16="http://schemas.microsoft.com/office/drawing/2014/main" id="{CC0E2EC7-8ECD-4E92-A799-E843BDA054E6}"/>
              </a:ext>
            </a:extLst>
          </p:cNvPr>
          <p:cNvCxnSpPr>
            <a:cxnSpLocks/>
            <a:stCxn id="33" idx="3"/>
            <a:endCxn id="59" idx="1"/>
          </p:cNvCxnSpPr>
          <p:nvPr/>
        </p:nvCxnSpPr>
        <p:spPr>
          <a:xfrm>
            <a:off x="5458706" y="1775095"/>
            <a:ext cx="642955" cy="532369"/>
          </a:xfrm>
          <a:prstGeom prst="bentConnector3">
            <a:avLst>
              <a:gd name="adj1" fmla="val 50000"/>
            </a:avLst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Straight Arrow Connector 103">
            <a:extLst>
              <a:ext uri="{FF2B5EF4-FFF2-40B4-BE49-F238E27FC236}">
                <a16:creationId xmlns:a16="http://schemas.microsoft.com/office/drawing/2014/main" id="{E6B088DB-7641-4687-8A57-33A14C5AF6BE}"/>
              </a:ext>
            </a:extLst>
          </p:cNvPr>
          <p:cNvCxnSpPr>
            <a:cxnSpLocks/>
            <a:stCxn id="58" idx="3"/>
          </p:cNvCxnSpPr>
          <p:nvPr/>
        </p:nvCxnSpPr>
        <p:spPr>
          <a:xfrm>
            <a:off x="7270404" y="1651684"/>
            <a:ext cx="681918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Straight Arrow Connector 111">
            <a:extLst>
              <a:ext uri="{FF2B5EF4-FFF2-40B4-BE49-F238E27FC236}">
                <a16:creationId xmlns:a16="http://schemas.microsoft.com/office/drawing/2014/main" id="{5044090E-C357-4C56-9498-78B59D579A72}"/>
              </a:ext>
            </a:extLst>
          </p:cNvPr>
          <p:cNvCxnSpPr>
            <a:stCxn id="88" idx="1"/>
          </p:cNvCxnSpPr>
          <p:nvPr/>
        </p:nvCxnSpPr>
        <p:spPr>
          <a:xfrm flipH="1">
            <a:off x="8834121" y="1651683"/>
            <a:ext cx="209815" cy="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Straight Arrow Connector 178">
            <a:extLst>
              <a:ext uri="{FF2B5EF4-FFF2-40B4-BE49-F238E27FC236}">
                <a16:creationId xmlns:a16="http://schemas.microsoft.com/office/drawing/2014/main" id="{9EA3C70B-BD3B-4D70-89BB-A13ECA68185A}"/>
              </a:ext>
            </a:extLst>
          </p:cNvPr>
          <p:cNvCxnSpPr>
            <a:cxnSpLocks/>
            <a:stCxn id="62" idx="0"/>
            <a:endCxn id="60" idx="2"/>
          </p:cNvCxnSpPr>
          <p:nvPr/>
        </p:nvCxnSpPr>
        <p:spPr>
          <a:xfrm flipV="1">
            <a:off x="6680704" y="3304743"/>
            <a:ext cx="5329" cy="1346835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5" name="Straight Arrow Connector 194">
            <a:extLst>
              <a:ext uri="{FF2B5EF4-FFF2-40B4-BE49-F238E27FC236}">
                <a16:creationId xmlns:a16="http://schemas.microsoft.com/office/drawing/2014/main" id="{8EE95DAB-56E3-4E70-99AB-38F95B16A7DD}"/>
              </a:ext>
            </a:extLst>
          </p:cNvPr>
          <p:cNvCxnSpPr>
            <a:cxnSpLocks/>
            <a:stCxn id="61" idx="2"/>
            <a:endCxn id="51" idx="0"/>
          </p:cNvCxnSpPr>
          <p:nvPr/>
        </p:nvCxnSpPr>
        <p:spPr>
          <a:xfrm flipH="1">
            <a:off x="8388307" y="5149313"/>
            <a:ext cx="1" cy="513184"/>
          </a:xfrm>
          <a:prstGeom prst="straightConnector1">
            <a:avLst/>
          </a:prstGeom>
          <a:ln w="19050">
            <a:prstDash val="sysDot"/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815854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Planview 2019">
  <a:themeElements>
    <a:clrScheme name="Planview 2019-10">
      <a:dk1>
        <a:srgbClr val="1A1B2F"/>
      </a:dk1>
      <a:lt1>
        <a:srgbClr val="FFFFFF"/>
      </a:lt1>
      <a:dk2>
        <a:srgbClr val="1A1B2F"/>
      </a:dk2>
      <a:lt2>
        <a:srgbClr val="AA182C"/>
      </a:lt2>
      <a:accent1>
        <a:srgbClr val="484959"/>
      </a:accent1>
      <a:accent2>
        <a:srgbClr val="AA182C"/>
      </a:accent2>
      <a:accent3>
        <a:srgbClr val="4297FC"/>
      </a:accent3>
      <a:accent4>
        <a:srgbClr val="BC5CE4"/>
      </a:accent4>
      <a:accent5>
        <a:srgbClr val="3ABB81"/>
      </a:accent5>
      <a:accent6>
        <a:srgbClr val="FFBA69"/>
      </a:accent6>
      <a:hlink>
        <a:srgbClr val="513CFF"/>
      </a:hlink>
      <a:folHlink>
        <a:srgbClr val="680B18"/>
      </a:folHlink>
    </a:clrScheme>
    <a:fontScheme name="Planview 2016">
      <a:majorFont>
        <a:latin typeface="Avenir LT Std 65 Medium"/>
        <a:ea typeface=""/>
        <a:cs typeface=""/>
      </a:majorFont>
      <a:minorFont>
        <a:latin typeface="Avenir LT Std 35 Light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lanview 2019" id="{541510D6-F150-4536-B8AD-CA2D550C94D9}" vid="{5DD08683-1BF1-4743-84B0-04223F4BDB7F}"/>
    </a:ext>
  </a:extLst>
</a:theme>
</file>

<file path=ppt/theme/theme2.xml><?xml version="1.0" encoding="utf-8"?>
<a:theme xmlns:a="http://schemas.openxmlformats.org/drawingml/2006/main" name="10_Office Theme">
  <a:themeElements>
    <a:clrScheme name="Tasktop Colours">
      <a:dk1>
        <a:srgbClr val="090909"/>
      </a:dk1>
      <a:lt1>
        <a:srgbClr val="FFFFFF"/>
      </a:lt1>
      <a:dk2>
        <a:srgbClr val="4C4C4B"/>
      </a:dk2>
      <a:lt2>
        <a:srgbClr val="E3E4E2"/>
      </a:lt2>
      <a:accent1>
        <a:srgbClr val="79B642"/>
      </a:accent1>
      <a:accent2>
        <a:srgbClr val="DCE043"/>
      </a:accent2>
      <a:accent3>
        <a:srgbClr val="1C8FAB"/>
      </a:accent3>
      <a:accent4>
        <a:srgbClr val="CF522D"/>
      </a:accent4>
      <a:accent5>
        <a:srgbClr val="9E75A1"/>
      </a:accent5>
      <a:accent6>
        <a:srgbClr val="E3E4E3"/>
      </a:accent6>
      <a:hlink>
        <a:srgbClr val="79B642"/>
      </a:hlink>
      <a:folHlink>
        <a:srgbClr val="79B64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T confrence template" id="{BB5D002C-3A18-0C45-82CF-6EE18E411FF8}" vid="{880A119D-7B89-FC4D-83E7-818413C3C857}"/>
    </a:ext>
  </a:extLst>
</a:theme>
</file>

<file path=ppt/theme/theme3.xml><?xml version="1.0" encoding="utf-8"?>
<a:theme xmlns:a="http://schemas.openxmlformats.org/drawingml/2006/main" name="2_Planview 2020-01">
  <a:themeElements>
    <a:clrScheme name="Planview 2019-10">
      <a:dk1>
        <a:srgbClr val="1A1B2F"/>
      </a:dk1>
      <a:lt1>
        <a:srgbClr val="FFFFFF"/>
      </a:lt1>
      <a:dk2>
        <a:srgbClr val="1A1B2F"/>
      </a:dk2>
      <a:lt2>
        <a:srgbClr val="AA182C"/>
      </a:lt2>
      <a:accent1>
        <a:srgbClr val="484959"/>
      </a:accent1>
      <a:accent2>
        <a:srgbClr val="AA182C"/>
      </a:accent2>
      <a:accent3>
        <a:srgbClr val="4297FC"/>
      </a:accent3>
      <a:accent4>
        <a:srgbClr val="BC5CE4"/>
      </a:accent4>
      <a:accent5>
        <a:srgbClr val="3ABB81"/>
      </a:accent5>
      <a:accent6>
        <a:srgbClr val="FFBA69"/>
      </a:accent6>
      <a:hlink>
        <a:srgbClr val="513CFF"/>
      </a:hlink>
      <a:folHlink>
        <a:srgbClr val="680B18"/>
      </a:folHlink>
    </a:clrScheme>
    <a:fontScheme name="Planview 2016">
      <a:majorFont>
        <a:latin typeface="Avenir LT Std 65 Medium"/>
        <a:ea typeface=""/>
        <a:cs typeface=""/>
      </a:majorFont>
      <a:minorFont>
        <a:latin typeface="Avenir LT Std 35 Light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lanview 2019-10" id="{B5B310B0-E821-4432-9023-45BF7FEFE50E}" vid="{CC7F518E-2B06-44E1-BF71-2F1895380FE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6CC185AB94374A99E1EAC828D8B7D7" ma:contentTypeVersion="11" ma:contentTypeDescription="Create a new document." ma:contentTypeScope="" ma:versionID="14567983018d7344c3a12390a68a42f8">
  <xsd:schema xmlns:xsd="http://www.w3.org/2001/XMLSchema" xmlns:xs="http://www.w3.org/2001/XMLSchema" xmlns:p="http://schemas.microsoft.com/office/2006/metadata/properties" xmlns:ns2="97aceb77-4712-4cad-8939-d5b7ad73fb61" xmlns:ns3="373a126e-4d95-4c48-85ab-bdd3d91789fe" targetNamespace="http://schemas.microsoft.com/office/2006/metadata/properties" ma:root="true" ma:fieldsID="f9254b2bc7b314e9d128513a3a380d97" ns2:_="" ns3:_="">
    <xsd:import namespace="97aceb77-4712-4cad-8939-d5b7ad73fb61"/>
    <xsd:import namespace="373a126e-4d95-4c48-85ab-bdd3d91789f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aceb77-4712-4cad-8939-d5b7ad73fb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3a126e-4d95-4c48-85ab-bdd3d91789f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EABE6592-28AE-4843-9784-9D4218E1170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D7AB43F-04CC-4500-9588-28414F0A1025}">
  <ds:schemaRefs>
    <ds:schemaRef ds:uri="373a126e-4d95-4c48-85ab-bdd3d91789fe"/>
    <ds:schemaRef ds:uri="97aceb77-4712-4cad-8939-d5b7ad73fb6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230CEEAD-1F97-4D35-A7DE-8BB2CB32AC6D}">
  <ds:schemaRefs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purl.org/dc/elements/1.1/"/>
    <ds:schemaRef ds:uri="http://purl.org/dc/terms/"/>
    <ds:schemaRef ds:uri="http://purl.org/dc/dcmitype/"/>
    <ds:schemaRef ds:uri="97aceb77-4712-4cad-8939-d5b7ad73fb61"/>
    <ds:schemaRef ds:uri="373a126e-4d95-4c48-85ab-bdd3d91789f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856</TotalTime>
  <Words>730</Words>
  <Application>Microsoft Office PowerPoint</Application>
  <PresentationFormat>Widescreen</PresentationFormat>
  <Paragraphs>162</Paragraphs>
  <Slides>8</Slides>
  <Notes>8</Notes>
  <HiddenSlides>0</HiddenSlides>
  <MMClips>0</MMClips>
  <ScaleCrop>false</ScaleCrop>
  <HeadingPairs>
    <vt:vector size="4" baseType="variant">
      <vt:variant>
        <vt:lpstr>Theme</vt:lpstr>
      </vt:variant>
      <vt:variant>
        <vt:i4>3</vt:i4>
      </vt:variant>
      <vt:variant>
        <vt:lpstr>Slide Titles</vt:lpstr>
      </vt:variant>
      <vt:variant>
        <vt:i4>8</vt:i4>
      </vt:variant>
    </vt:vector>
  </HeadingPairs>
  <TitlesOfParts>
    <vt:vector size="11" baseType="lpstr">
      <vt:lpstr>Planview 2019</vt:lpstr>
      <vt:lpstr>10_Office Theme</vt:lpstr>
      <vt:lpstr>2_Planview 2020-01</vt:lpstr>
      <vt:lpstr>Program Backlog Management &gt; Program Capacity Planning &gt; Program Delivery: MASTER</vt:lpstr>
      <vt:lpstr>Program Backlog Management &gt; Program Capacity Planning &gt; Program Delivery: Agile Program Planning </vt:lpstr>
      <vt:lpstr>Program Backlog Management &gt; Program Capacity Planning &gt; Program Delivery: Agile Program Delivery</vt:lpstr>
      <vt:lpstr>Team Backlog Management &gt; Team Execution + Cross-Team Coordination: MASTER</vt:lpstr>
      <vt:lpstr>Team Backlog Management &gt; Team Execution + Cross-Team Coordination : Agile Team Delivery</vt:lpstr>
      <vt:lpstr>Team Backlog Management &gt; Team Execution + Cross-Team Coordination : Agile Team Planning</vt:lpstr>
      <vt:lpstr>Product Funding</vt:lpstr>
      <vt:lpstr>Epic Portfolio Plann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eoffrey Cuddy</dc:creator>
  <cp:lastModifiedBy>Dipu Bhattacharya</cp:lastModifiedBy>
  <cp:revision>46</cp:revision>
  <dcterms:created xsi:type="dcterms:W3CDTF">2021-01-26T20:19:30Z</dcterms:created>
  <dcterms:modified xsi:type="dcterms:W3CDTF">2021-03-22T22:16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6CC185AB94374A99E1EAC828D8B7D7</vt:lpwstr>
  </property>
</Properties>
</file>